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8"/>
  </p:sldMasterIdLst>
  <p:notesMasterIdLst>
    <p:notesMasterId r:id="rId30"/>
  </p:notesMasterIdLst>
  <p:handoutMasterIdLst>
    <p:handoutMasterId r:id="rId31"/>
  </p:handoutMasterIdLst>
  <p:sldIdLst>
    <p:sldId id="273" r:id="rId19"/>
    <p:sldId id="270" r:id="rId20"/>
    <p:sldId id="2147378023" r:id="rId21"/>
    <p:sldId id="2147378024" r:id="rId22"/>
    <p:sldId id="2147377967" r:id="rId23"/>
    <p:sldId id="2147377995" r:id="rId24"/>
    <p:sldId id="271" r:id="rId25"/>
    <p:sldId id="2147378027" r:id="rId26"/>
    <p:sldId id="2147378021" r:id="rId27"/>
    <p:sldId id="2147378025" r:id="rId28"/>
    <p:sldId id="2147378026" r:id="rId29"/>
  </p:sldIdLst>
  <p:sldSz cx="12192000" cy="6858000"/>
  <p:notesSz cx="6858000" cy="9144000"/>
  <p:embeddedFontLst>
    <p:embeddedFont>
      <p:font typeface="Roboto" panose="02000000000000000000" pitchFamily="2" charset="0"/>
      <p:regular r:id="rId32"/>
      <p:bold r:id="rId33"/>
      <p:italic r:id="rId34"/>
      <p:boldItalic r:id="rId35"/>
    </p:embeddedFont>
    <p:embeddedFont>
      <p:font typeface="Swedbank Headline Black" panose="02000000000000000000" pitchFamily="50" charset="0"/>
      <p:bold r:id="rId36"/>
    </p:embeddedFont>
    <p:embeddedFont>
      <p:font typeface="Swedbank Headline Bold" panose="02000000000000000000" pitchFamily="50" charset="0"/>
      <p:bold r:id="rId37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F6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97" autoAdjust="0"/>
    <p:restoredTop sz="94707" autoAdjust="0"/>
  </p:normalViewPr>
  <p:slideViewPr>
    <p:cSldViewPr snapToGrid="0" showGuides="1">
      <p:cViewPr varScale="1">
        <p:scale>
          <a:sx n="77" d="100"/>
          <a:sy n="77" d="100"/>
        </p:scale>
        <p:origin x="232" y="3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5512"/>
    </p:cViewPr>
  </p:sorterViewPr>
  <p:notesViewPr>
    <p:cSldViewPr snapToGrid="0">
      <p:cViewPr varScale="1">
        <p:scale>
          <a:sx n="92" d="100"/>
          <a:sy n="92" d="100"/>
        </p:scale>
        <p:origin x="2616" y="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1.xml"/><Relationship Id="rId26" Type="http://schemas.openxmlformats.org/officeDocument/2006/relationships/slide" Target="slides/slide8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3.xml"/><Relationship Id="rId34" Type="http://schemas.openxmlformats.org/officeDocument/2006/relationships/font" Target="fonts/font3.fntdata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7.xml"/><Relationship Id="rId33" Type="http://schemas.openxmlformats.org/officeDocument/2006/relationships/font" Target="fonts/font2.fntdata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2.xml"/><Relationship Id="rId29" Type="http://schemas.openxmlformats.org/officeDocument/2006/relationships/slide" Target="slides/slide11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6.xml"/><Relationship Id="rId32" Type="http://schemas.openxmlformats.org/officeDocument/2006/relationships/font" Target="fonts/font1.fntdata"/><Relationship Id="rId37" Type="http://schemas.openxmlformats.org/officeDocument/2006/relationships/font" Target="fonts/font6.fntdata"/><Relationship Id="rId40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font" Target="fonts/font5.fntdata"/><Relationship Id="rId10" Type="http://schemas.openxmlformats.org/officeDocument/2006/relationships/customXml" Target="../customXml/item10.xml"/><Relationship Id="rId19" Type="http://schemas.openxmlformats.org/officeDocument/2006/relationships/slide" Target="slides/slide1.xml"/><Relationship Id="rId31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4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resources.deloitte.com/sites/Swedbank912/Shared%20Documents/General/08.%20Data/Client%20version/MASTER%20-%20Activity%20Mapping%20Client%20Version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resources.deloitte.com/sites/Swedbank912/Shared%20Documents/General/08.%20Data/MASTER%20-%20Activity%20Mapping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>
                <a:solidFill>
                  <a:srgbClr val="512B2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oitte </a:t>
            </a:r>
            <a:r>
              <a:rPr lang="lt-LT" sz="1400" dirty="0">
                <a:solidFill>
                  <a:srgbClr val="512B2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riausios praktikos</a:t>
            </a:r>
            <a:endParaRPr lang="en-US" sz="1400" dirty="0">
              <a:solidFill>
                <a:srgbClr val="512B2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lt-LT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53A-4EDC-ABD5-3C610DD3541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53A-4EDC-ABD5-3C610DD3541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53A-4EDC-ABD5-3C610DD3541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53A-4EDC-ABD5-3C610DD3541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lt-LT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'HRBP Activity mapping - JG'!$F$185:$F$188</c:f>
              <c:numCache>
                <c:formatCode>0%</c:formatCode>
                <c:ptCount val="4"/>
                <c:pt idx="0">
                  <c:v>0</c:v>
                </c:pt>
                <c:pt idx="1">
                  <c:v>0.3</c:v>
                </c:pt>
                <c:pt idx="2">
                  <c:v>0.4</c:v>
                </c:pt>
                <c:pt idx="3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53A-4EDC-ABD5-3C610DD35416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lt-L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GB" sz="16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lt-LT" sz="1400" dirty="0">
                <a:solidFill>
                  <a:srgbClr val="512B2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R</a:t>
            </a:r>
            <a:r>
              <a:rPr lang="lt-LT" sz="1400" baseline="0" dirty="0">
                <a:solidFill>
                  <a:srgbClr val="512B2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rtnerio veikla, „Swedbank“</a:t>
            </a:r>
            <a:endParaRPr lang="en-GB" sz="1400" dirty="0">
              <a:solidFill>
                <a:srgbClr val="512B2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13040335373391823"/>
          <c:y val="2.793548003932963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GB" sz="16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lt-LT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6AD-406E-81B5-E2C5DEA5C7F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6AD-406E-81B5-E2C5DEA5C7F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6AD-406E-81B5-E2C5DEA5C7F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6AD-406E-81B5-E2C5DEA5C7F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lt-LT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'HRBP Activity mapping - JG'!$I$180:$I$183</c:f>
              <c:numCache>
                <c:formatCode>0%</c:formatCode>
                <c:ptCount val="4"/>
                <c:pt idx="0">
                  <c:v>0.11721842105263161</c:v>
                </c:pt>
                <c:pt idx="1">
                  <c:v>7.4197368421052651E-2</c:v>
                </c:pt>
                <c:pt idx="2">
                  <c:v>0.4754772403982932</c:v>
                </c:pt>
                <c:pt idx="3">
                  <c:v>0.273202631578947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6AD-406E-81B5-E2C5DEA5C7FC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lt-L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6ED4E9A-D8DF-409B-8A91-79ADC44EC3FB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lt-LT"/>
        </a:p>
      </dgm:t>
    </dgm:pt>
    <dgm:pt modelId="{EE7598CA-DAFE-4C46-961B-DC5CA13197FB}">
      <dgm:prSet phldrT="[Text]"/>
      <dgm:spPr>
        <a:ln>
          <a:noFill/>
        </a:ln>
      </dgm:spPr>
      <dgm:t>
        <a:bodyPr/>
        <a:lstStyle/>
        <a:p>
          <a:r>
            <a:rPr lang="en-US" b="0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Talent Marketplaces</a:t>
          </a:r>
          <a:endParaRPr lang="lt-LT" dirty="0"/>
        </a:p>
      </dgm:t>
    </dgm:pt>
    <dgm:pt modelId="{891C77D5-17B0-4AA4-8145-07A429B95B1B}" type="parTrans" cxnId="{E9230941-8161-4899-804E-8A071501688A}">
      <dgm:prSet/>
      <dgm:spPr/>
      <dgm:t>
        <a:bodyPr/>
        <a:lstStyle/>
        <a:p>
          <a:endParaRPr lang="lt-LT"/>
        </a:p>
      </dgm:t>
    </dgm:pt>
    <dgm:pt modelId="{B84E8FCC-37D5-44F2-BD2D-10ADD9D6DB6F}" type="sibTrans" cxnId="{E9230941-8161-4899-804E-8A071501688A}">
      <dgm:prSet/>
      <dgm:spPr/>
      <dgm:t>
        <a:bodyPr/>
        <a:lstStyle/>
        <a:p>
          <a:endParaRPr lang="lt-LT"/>
        </a:p>
      </dgm:t>
    </dgm:pt>
    <dgm:pt modelId="{899A6383-1FFE-44C5-B69F-95D765983345}">
      <dgm:prSet phldrT="[Text]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en-US" b="0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Capability Academies</a:t>
          </a:r>
          <a:endParaRPr lang="lt-LT" dirty="0"/>
        </a:p>
      </dgm:t>
    </dgm:pt>
    <dgm:pt modelId="{F40DED1D-F7D5-4AEA-8C47-E9E841E83847}" type="parTrans" cxnId="{B0222CD8-8FB3-462F-89F3-8573C20DF4EA}">
      <dgm:prSet/>
      <dgm:spPr/>
      <dgm:t>
        <a:bodyPr/>
        <a:lstStyle/>
        <a:p>
          <a:endParaRPr lang="lt-LT"/>
        </a:p>
      </dgm:t>
    </dgm:pt>
    <dgm:pt modelId="{5EB8C69E-E72F-4952-A3A1-3EBD609E7782}" type="sibTrans" cxnId="{B0222CD8-8FB3-462F-89F3-8573C20DF4EA}">
      <dgm:prSet/>
      <dgm:spPr/>
      <dgm:t>
        <a:bodyPr/>
        <a:lstStyle/>
        <a:p>
          <a:endParaRPr lang="lt-LT"/>
        </a:p>
      </dgm:t>
    </dgm:pt>
    <dgm:pt modelId="{941BD1C5-31CF-477B-A723-5E3C811312BE}">
      <dgm:prSet phldrT="[Text]"/>
      <dgm:spPr>
        <a:solidFill>
          <a:schemeClr val="accent4"/>
        </a:solidFill>
        <a:ln>
          <a:noFill/>
        </a:ln>
      </dgm:spPr>
      <dgm:t>
        <a:bodyPr/>
        <a:lstStyle/>
        <a:p>
          <a:r>
            <a:rPr lang="en-US" b="0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Employee Experience Platforms</a:t>
          </a:r>
          <a:endParaRPr lang="lt-LT" dirty="0"/>
        </a:p>
      </dgm:t>
    </dgm:pt>
    <dgm:pt modelId="{42F1429D-CCF6-4DAE-BB42-DAD4263D5A27}" type="parTrans" cxnId="{C99A53A8-C083-42A5-A783-8656A7CE70E8}">
      <dgm:prSet/>
      <dgm:spPr/>
      <dgm:t>
        <a:bodyPr/>
        <a:lstStyle/>
        <a:p>
          <a:endParaRPr lang="lt-LT"/>
        </a:p>
      </dgm:t>
    </dgm:pt>
    <dgm:pt modelId="{F3247CFD-52D5-47C8-BB6A-E63106D4E634}" type="sibTrans" cxnId="{C99A53A8-C083-42A5-A783-8656A7CE70E8}">
      <dgm:prSet/>
      <dgm:spPr/>
      <dgm:t>
        <a:bodyPr/>
        <a:lstStyle/>
        <a:p>
          <a:endParaRPr lang="lt-LT"/>
        </a:p>
      </dgm:t>
    </dgm:pt>
    <dgm:pt modelId="{383840AB-4A3B-47B1-94BF-10698A2F3134}">
      <dgm:prSet phldrT="[Text]"/>
      <dgm:spPr>
        <a:solidFill>
          <a:schemeClr val="accent2"/>
        </a:solidFill>
        <a:ln>
          <a:noFill/>
        </a:ln>
      </dgm:spPr>
      <dgm:t>
        <a:bodyPr/>
        <a:lstStyle/>
        <a:p>
          <a:r>
            <a:rPr lang="lt-LT" dirty="0">
              <a:latin typeface="Arial" panose="020B0604020202020204" pitchFamily="34" charset="0"/>
              <a:cs typeface="Arial" panose="020B0604020202020204" pitchFamily="34" charset="0"/>
            </a:rPr>
            <a:t>M</a:t>
          </a:r>
          <a:r>
            <a:rPr lang="en-US" b="0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id-market talent suites </a:t>
          </a:r>
          <a:endParaRPr lang="lt-LT" dirty="0"/>
        </a:p>
      </dgm:t>
    </dgm:pt>
    <dgm:pt modelId="{227FB7D3-B9EC-4B37-8F5F-6539F54DE3C4}" type="parTrans" cxnId="{423DADE8-DCE0-4201-9A74-790D889FDC50}">
      <dgm:prSet/>
      <dgm:spPr/>
      <dgm:t>
        <a:bodyPr/>
        <a:lstStyle/>
        <a:p>
          <a:endParaRPr lang="lt-LT"/>
        </a:p>
      </dgm:t>
    </dgm:pt>
    <dgm:pt modelId="{1B0DEFF0-B614-4BB8-8846-098ADD83940C}" type="sibTrans" cxnId="{423DADE8-DCE0-4201-9A74-790D889FDC50}">
      <dgm:prSet/>
      <dgm:spPr/>
      <dgm:t>
        <a:bodyPr/>
        <a:lstStyle/>
        <a:p>
          <a:endParaRPr lang="lt-LT"/>
        </a:p>
      </dgm:t>
    </dgm:pt>
    <dgm:pt modelId="{008EB0B1-944A-463C-AA45-005D821B9AD4}">
      <dgm:prSet phldrT="[Text]"/>
      <dgm:spPr>
        <a:solidFill>
          <a:schemeClr val="accent4">
            <a:lumMod val="75000"/>
          </a:schemeClr>
        </a:solidFill>
        <a:ln>
          <a:noFill/>
        </a:ln>
      </dgm:spPr>
      <dgm:t>
        <a:bodyPr/>
        <a:lstStyle/>
        <a:p>
          <a:r>
            <a:rPr lang="en-US" b="0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Employee Listening, Wellbeing and Rewards Platforms</a:t>
          </a:r>
          <a:endParaRPr lang="lt-LT" dirty="0"/>
        </a:p>
      </dgm:t>
    </dgm:pt>
    <dgm:pt modelId="{9BD521CD-3A28-4E90-A758-E16C3298150A}" type="parTrans" cxnId="{99E1F5F0-25CE-497B-BD82-7F3ADEBAE143}">
      <dgm:prSet/>
      <dgm:spPr/>
      <dgm:t>
        <a:bodyPr/>
        <a:lstStyle/>
        <a:p>
          <a:endParaRPr lang="lt-LT"/>
        </a:p>
      </dgm:t>
    </dgm:pt>
    <dgm:pt modelId="{86D81422-B844-4FD1-B059-9E41BE7CC8FC}" type="sibTrans" cxnId="{99E1F5F0-25CE-497B-BD82-7F3ADEBAE143}">
      <dgm:prSet/>
      <dgm:spPr/>
      <dgm:t>
        <a:bodyPr/>
        <a:lstStyle/>
        <a:p>
          <a:endParaRPr lang="lt-LT"/>
        </a:p>
      </dgm:t>
    </dgm:pt>
    <dgm:pt modelId="{79577F7A-F026-4660-AAEF-1C153BB8FA40}">
      <dgm:prSet/>
      <dgm:spPr>
        <a:solidFill>
          <a:schemeClr val="accent5"/>
        </a:solidFill>
        <a:ln>
          <a:noFill/>
        </a:ln>
      </dgm:spPr>
      <dgm:t>
        <a:bodyPr/>
        <a:lstStyle/>
        <a:p>
          <a:r>
            <a:rPr lang="en-US" b="0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Coaching and Leadership Platforms</a:t>
          </a:r>
          <a:endParaRPr lang="lt-LT" dirty="0"/>
        </a:p>
      </dgm:t>
    </dgm:pt>
    <dgm:pt modelId="{7F166F9A-2F15-42E3-8689-AFBA48C355A5}" type="parTrans" cxnId="{330D2F43-E836-469A-8587-F70A10050FE0}">
      <dgm:prSet/>
      <dgm:spPr/>
      <dgm:t>
        <a:bodyPr/>
        <a:lstStyle/>
        <a:p>
          <a:endParaRPr lang="lt-LT"/>
        </a:p>
      </dgm:t>
    </dgm:pt>
    <dgm:pt modelId="{C6B3B4D1-E4EE-4DF9-9F27-599800D5D3A1}" type="sibTrans" cxnId="{330D2F43-E836-469A-8587-F70A10050FE0}">
      <dgm:prSet/>
      <dgm:spPr/>
      <dgm:t>
        <a:bodyPr/>
        <a:lstStyle/>
        <a:p>
          <a:endParaRPr lang="lt-LT"/>
        </a:p>
      </dgm:t>
    </dgm:pt>
    <dgm:pt modelId="{3D5B8FFC-A211-4C18-886A-3A755046E125}">
      <dgm:prSet/>
      <dgm:spPr>
        <a:solidFill>
          <a:srgbClr val="8ACDC3"/>
        </a:solidFill>
        <a:ln>
          <a:noFill/>
        </a:ln>
      </dgm:spPr>
      <dgm:t>
        <a:bodyPr/>
        <a:lstStyle/>
        <a:p>
          <a:r>
            <a:rPr lang="lt-LT" dirty="0" err="1">
              <a:latin typeface="Arial" panose="020B0604020202020204" pitchFamily="34" charset="0"/>
              <a:cs typeface="Arial" panose="020B0604020202020204" pitchFamily="34" charset="0"/>
            </a:rPr>
            <a:t>T</a:t>
          </a:r>
          <a:r>
            <a:rPr lang="en-US" b="0" i="0" dirty="0" err="1">
              <a:effectLst/>
              <a:latin typeface="Arial" panose="020B0604020202020204" pitchFamily="34" charset="0"/>
              <a:cs typeface="Arial" panose="020B0604020202020204" pitchFamily="34" charset="0"/>
            </a:rPr>
            <a:t>alent</a:t>
          </a:r>
          <a:r>
            <a:rPr lang="en-US" b="0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 Intelligence and Skills Tech platforms</a:t>
          </a:r>
          <a:endParaRPr lang="lt-LT" dirty="0"/>
        </a:p>
      </dgm:t>
    </dgm:pt>
    <dgm:pt modelId="{3FF551F7-F2AB-440D-9881-D281A5B351B9}" type="parTrans" cxnId="{5DD9F17B-CF21-4BF7-8301-205EC5A47B4F}">
      <dgm:prSet/>
      <dgm:spPr/>
      <dgm:t>
        <a:bodyPr/>
        <a:lstStyle/>
        <a:p>
          <a:endParaRPr lang="lt-LT"/>
        </a:p>
      </dgm:t>
    </dgm:pt>
    <dgm:pt modelId="{BD2CCE50-A7DD-492B-A7A0-7BFD1AB3DF42}" type="sibTrans" cxnId="{5DD9F17B-CF21-4BF7-8301-205EC5A47B4F}">
      <dgm:prSet/>
      <dgm:spPr/>
      <dgm:t>
        <a:bodyPr/>
        <a:lstStyle/>
        <a:p>
          <a:endParaRPr lang="lt-LT"/>
        </a:p>
      </dgm:t>
    </dgm:pt>
    <dgm:pt modelId="{32483FFB-9D7A-40A2-A483-A30792C50F0A}">
      <dgm:prSet/>
      <dgm:spPr>
        <a:ln>
          <a:noFill/>
        </a:ln>
      </dgm:spPr>
      <dgm:t>
        <a:bodyPr/>
        <a:lstStyle/>
        <a:p>
          <a:r>
            <a:rPr lang="en-US" b="0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Pay Equity tools</a:t>
          </a:r>
          <a:endParaRPr lang="lt-LT" dirty="0"/>
        </a:p>
      </dgm:t>
    </dgm:pt>
    <dgm:pt modelId="{CAD1EC35-DE0F-466B-91FD-BC71E384E7A6}" type="parTrans" cxnId="{F4F74010-BE29-4CEB-B652-9B723AAA0C70}">
      <dgm:prSet/>
      <dgm:spPr/>
      <dgm:t>
        <a:bodyPr/>
        <a:lstStyle/>
        <a:p>
          <a:endParaRPr lang="lt-LT"/>
        </a:p>
      </dgm:t>
    </dgm:pt>
    <dgm:pt modelId="{874EAB05-9DDD-475E-B6D0-FC50B3B2C07C}" type="sibTrans" cxnId="{F4F74010-BE29-4CEB-B652-9B723AAA0C70}">
      <dgm:prSet/>
      <dgm:spPr/>
      <dgm:t>
        <a:bodyPr/>
        <a:lstStyle/>
        <a:p>
          <a:endParaRPr lang="lt-LT"/>
        </a:p>
      </dgm:t>
    </dgm:pt>
    <dgm:pt modelId="{45DBCB0F-01E5-4993-9073-670A050CEBE7}" type="pres">
      <dgm:prSet presAssocID="{96ED4E9A-D8DF-409B-8A91-79ADC44EC3FB}" presName="diagram" presStyleCnt="0">
        <dgm:presLayoutVars>
          <dgm:dir/>
          <dgm:resizeHandles val="exact"/>
        </dgm:presLayoutVars>
      </dgm:prSet>
      <dgm:spPr/>
    </dgm:pt>
    <dgm:pt modelId="{7F1858DC-A6F9-406E-9091-ED7A1CCCBF9F}" type="pres">
      <dgm:prSet presAssocID="{EE7598CA-DAFE-4C46-961B-DC5CA13197FB}" presName="node" presStyleLbl="node1" presStyleIdx="0" presStyleCnt="8">
        <dgm:presLayoutVars>
          <dgm:bulletEnabled val="1"/>
        </dgm:presLayoutVars>
      </dgm:prSet>
      <dgm:spPr/>
    </dgm:pt>
    <dgm:pt modelId="{7D5359B4-9E8A-4F2A-ABFD-8F242A6C4BE5}" type="pres">
      <dgm:prSet presAssocID="{B84E8FCC-37D5-44F2-BD2D-10ADD9D6DB6F}" presName="sibTrans" presStyleCnt="0"/>
      <dgm:spPr/>
    </dgm:pt>
    <dgm:pt modelId="{F18D4B95-78F8-4BCF-A3F7-19F057AEDBF8}" type="pres">
      <dgm:prSet presAssocID="{899A6383-1FFE-44C5-B69F-95D765983345}" presName="node" presStyleLbl="node1" presStyleIdx="1" presStyleCnt="8">
        <dgm:presLayoutVars>
          <dgm:bulletEnabled val="1"/>
        </dgm:presLayoutVars>
      </dgm:prSet>
      <dgm:spPr/>
    </dgm:pt>
    <dgm:pt modelId="{80CC1998-095A-46D6-BF18-DE2556132F63}" type="pres">
      <dgm:prSet presAssocID="{5EB8C69E-E72F-4952-A3A1-3EBD609E7782}" presName="sibTrans" presStyleCnt="0"/>
      <dgm:spPr/>
    </dgm:pt>
    <dgm:pt modelId="{395A9CFA-1E85-459E-9EE1-C893CB24D92E}" type="pres">
      <dgm:prSet presAssocID="{941BD1C5-31CF-477B-A723-5E3C811312BE}" presName="node" presStyleLbl="node1" presStyleIdx="2" presStyleCnt="8">
        <dgm:presLayoutVars>
          <dgm:bulletEnabled val="1"/>
        </dgm:presLayoutVars>
      </dgm:prSet>
      <dgm:spPr/>
    </dgm:pt>
    <dgm:pt modelId="{B67D1A57-2769-4CDC-A248-F12F91C03449}" type="pres">
      <dgm:prSet presAssocID="{F3247CFD-52D5-47C8-BB6A-E63106D4E634}" presName="sibTrans" presStyleCnt="0"/>
      <dgm:spPr/>
    </dgm:pt>
    <dgm:pt modelId="{DC06EB2B-A8D8-4DC0-AF91-3D53F1D8BF05}" type="pres">
      <dgm:prSet presAssocID="{383840AB-4A3B-47B1-94BF-10698A2F3134}" presName="node" presStyleLbl="node1" presStyleIdx="3" presStyleCnt="8">
        <dgm:presLayoutVars>
          <dgm:bulletEnabled val="1"/>
        </dgm:presLayoutVars>
      </dgm:prSet>
      <dgm:spPr/>
    </dgm:pt>
    <dgm:pt modelId="{242E87B8-B9A1-4593-9EDD-98404853C4CC}" type="pres">
      <dgm:prSet presAssocID="{1B0DEFF0-B614-4BB8-8846-098ADD83940C}" presName="sibTrans" presStyleCnt="0"/>
      <dgm:spPr/>
    </dgm:pt>
    <dgm:pt modelId="{47453F4F-879C-47BC-8E03-580731BCCABA}" type="pres">
      <dgm:prSet presAssocID="{008EB0B1-944A-463C-AA45-005D821B9AD4}" presName="node" presStyleLbl="node1" presStyleIdx="4" presStyleCnt="8">
        <dgm:presLayoutVars>
          <dgm:bulletEnabled val="1"/>
        </dgm:presLayoutVars>
      </dgm:prSet>
      <dgm:spPr/>
    </dgm:pt>
    <dgm:pt modelId="{0D1E5CDA-5C0F-47D9-848F-FB5795142183}" type="pres">
      <dgm:prSet presAssocID="{86D81422-B844-4FD1-B059-9E41BE7CC8FC}" presName="sibTrans" presStyleCnt="0"/>
      <dgm:spPr/>
    </dgm:pt>
    <dgm:pt modelId="{3D5084C9-8FA2-4811-ABE9-78DEB9B94F61}" type="pres">
      <dgm:prSet presAssocID="{79577F7A-F026-4660-AAEF-1C153BB8FA40}" presName="node" presStyleLbl="node1" presStyleIdx="5" presStyleCnt="8">
        <dgm:presLayoutVars>
          <dgm:bulletEnabled val="1"/>
        </dgm:presLayoutVars>
      </dgm:prSet>
      <dgm:spPr/>
    </dgm:pt>
    <dgm:pt modelId="{9C5C59A3-C211-4669-996A-64071ECA8D83}" type="pres">
      <dgm:prSet presAssocID="{C6B3B4D1-E4EE-4DF9-9F27-599800D5D3A1}" presName="sibTrans" presStyleCnt="0"/>
      <dgm:spPr/>
    </dgm:pt>
    <dgm:pt modelId="{A905C30E-D0AD-466F-AA33-DBAA960E98D7}" type="pres">
      <dgm:prSet presAssocID="{3D5B8FFC-A211-4C18-886A-3A755046E125}" presName="node" presStyleLbl="node1" presStyleIdx="6" presStyleCnt="8">
        <dgm:presLayoutVars>
          <dgm:bulletEnabled val="1"/>
        </dgm:presLayoutVars>
      </dgm:prSet>
      <dgm:spPr/>
    </dgm:pt>
    <dgm:pt modelId="{D8997699-274C-40B5-80C6-A5F7ED8D306D}" type="pres">
      <dgm:prSet presAssocID="{BD2CCE50-A7DD-492B-A7A0-7BFD1AB3DF42}" presName="sibTrans" presStyleCnt="0"/>
      <dgm:spPr/>
    </dgm:pt>
    <dgm:pt modelId="{6E52CAE4-574B-4035-80AE-3B52872B25E0}" type="pres">
      <dgm:prSet presAssocID="{32483FFB-9D7A-40A2-A483-A30792C50F0A}" presName="node" presStyleLbl="node1" presStyleIdx="7" presStyleCnt="8">
        <dgm:presLayoutVars>
          <dgm:bulletEnabled val="1"/>
        </dgm:presLayoutVars>
      </dgm:prSet>
      <dgm:spPr/>
    </dgm:pt>
  </dgm:ptLst>
  <dgm:cxnLst>
    <dgm:cxn modelId="{F4F74010-BE29-4CEB-B652-9B723AAA0C70}" srcId="{96ED4E9A-D8DF-409B-8A91-79ADC44EC3FB}" destId="{32483FFB-9D7A-40A2-A483-A30792C50F0A}" srcOrd="7" destOrd="0" parTransId="{CAD1EC35-DE0F-466B-91FD-BC71E384E7A6}" sibTransId="{874EAB05-9DDD-475E-B6D0-FC50B3B2C07C}"/>
    <dgm:cxn modelId="{24BC9B1D-6EDE-4F50-B072-379F2CC5C440}" type="presOf" srcId="{941BD1C5-31CF-477B-A723-5E3C811312BE}" destId="{395A9CFA-1E85-459E-9EE1-C893CB24D92E}" srcOrd="0" destOrd="0" presId="urn:microsoft.com/office/officeart/2005/8/layout/default"/>
    <dgm:cxn modelId="{EFA5C232-1FB0-4A70-BBCB-6D0A002F15DB}" type="presOf" srcId="{79577F7A-F026-4660-AAEF-1C153BB8FA40}" destId="{3D5084C9-8FA2-4811-ABE9-78DEB9B94F61}" srcOrd="0" destOrd="0" presId="urn:microsoft.com/office/officeart/2005/8/layout/default"/>
    <dgm:cxn modelId="{A4C2283B-21C2-4389-ABC2-E774B6CBDFD7}" type="presOf" srcId="{3D5B8FFC-A211-4C18-886A-3A755046E125}" destId="{A905C30E-D0AD-466F-AA33-DBAA960E98D7}" srcOrd="0" destOrd="0" presId="urn:microsoft.com/office/officeart/2005/8/layout/default"/>
    <dgm:cxn modelId="{E9230941-8161-4899-804E-8A071501688A}" srcId="{96ED4E9A-D8DF-409B-8A91-79ADC44EC3FB}" destId="{EE7598CA-DAFE-4C46-961B-DC5CA13197FB}" srcOrd="0" destOrd="0" parTransId="{891C77D5-17B0-4AA4-8145-07A429B95B1B}" sibTransId="{B84E8FCC-37D5-44F2-BD2D-10ADD9D6DB6F}"/>
    <dgm:cxn modelId="{6F2B1E43-D3AC-4629-A962-93623C906DC4}" type="presOf" srcId="{899A6383-1FFE-44C5-B69F-95D765983345}" destId="{F18D4B95-78F8-4BCF-A3F7-19F057AEDBF8}" srcOrd="0" destOrd="0" presId="urn:microsoft.com/office/officeart/2005/8/layout/default"/>
    <dgm:cxn modelId="{330D2F43-E836-469A-8587-F70A10050FE0}" srcId="{96ED4E9A-D8DF-409B-8A91-79ADC44EC3FB}" destId="{79577F7A-F026-4660-AAEF-1C153BB8FA40}" srcOrd="5" destOrd="0" parTransId="{7F166F9A-2F15-42E3-8689-AFBA48C355A5}" sibTransId="{C6B3B4D1-E4EE-4DF9-9F27-599800D5D3A1}"/>
    <dgm:cxn modelId="{9A93BF4C-C3F9-45EB-8BD0-AE9499519BC8}" type="presOf" srcId="{96ED4E9A-D8DF-409B-8A91-79ADC44EC3FB}" destId="{45DBCB0F-01E5-4993-9073-670A050CEBE7}" srcOrd="0" destOrd="0" presId="urn:microsoft.com/office/officeart/2005/8/layout/default"/>
    <dgm:cxn modelId="{63CA6370-2225-41E2-86BA-0DDC3EA6BD9C}" type="presOf" srcId="{32483FFB-9D7A-40A2-A483-A30792C50F0A}" destId="{6E52CAE4-574B-4035-80AE-3B52872B25E0}" srcOrd="0" destOrd="0" presId="urn:microsoft.com/office/officeart/2005/8/layout/default"/>
    <dgm:cxn modelId="{99304E51-2A2C-4D4C-A224-3CDC437DDAD7}" type="presOf" srcId="{383840AB-4A3B-47B1-94BF-10698A2F3134}" destId="{DC06EB2B-A8D8-4DC0-AF91-3D53F1D8BF05}" srcOrd="0" destOrd="0" presId="urn:microsoft.com/office/officeart/2005/8/layout/default"/>
    <dgm:cxn modelId="{5DD9F17B-CF21-4BF7-8301-205EC5A47B4F}" srcId="{96ED4E9A-D8DF-409B-8A91-79ADC44EC3FB}" destId="{3D5B8FFC-A211-4C18-886A-3A755046E125}" srcOrd="6" destOrd="0" parTransId="{3FF551F7-F2AB-440D-9881-D281A5B351B9}" sibTransId="{BD2CCE50-A7DD-492B-A7A0-7BFD1AB3DF42}"/>
    <dgm:cxn modelId="{C4FE03A8-29FA-43A4-9EFF-47477ED108B6}" type="presOf" srcId="{EE7598CA-DAFE-4C46-961B-DC5CA13197FB}" destId="{7F1858DC-A6F9-406E-9091-ED7A1CCCBF9F}" srcOrd="0" destOrd="0" presId="urn:microsoft.com/office/officeart/2005/8/layout/default"/>
    <dgm:cxn modelId="{C99A53A8-C083-42A5-A783-8656A7CE70E8}" srcId="{96ED4E9A-D8DF-409B-8A91-79ADC44EC3FB}" destId="{941BD1C5-31CF-477B-A723-5E3C811312BE}" srcOrd="2" destOrd="0" parTransId="{42F1429D-CCF6-4DAE-BB42-DAD4263D5A27}" sibTransId="{F3247CFD-52D5-47C8-BB6A-E63106D4E634}"/>
    <dgm:cxn modelId="{904D7FD6-57A2-4A64-A199-422449AF0D2B}" type="presOf" srcId="{008EB0B1-944A-463C-AA45-005D821B9AD4}" destId="{47453F4F-879C-47BC-8E03-580731BCCABA}" srcOrd="0" destOrd="0" presId="urn:microsoft.com/office/officeart/2005/8/layout/default"/>
    <dgm:cxn modelId="{B0222CD8-8FB3-462F-89F3-8573C20DF4EA}" srcId="{96ED4E9A-D8DF-409B-8A91-79ADC44EC3FB}" destId="{899A6383-1FFE-44C5-B69F-95D765983345}" srcOrd="1" destOrd="0" parTransId="{F40DED1D-F7D5-4AEA-8C47-E9E841E83847}" sibTransId="{5EB8C69E-E72F-4952-A3A1-3EBD609E7782}"/>
    <dgm:cxn modelId="{423DADE8-DCE0-4201-9A74-790D889FDC50}" srcId="{96ED4E9A-D8DF-409B-8A91-79ADC44EC3FB}" destId="{383840AB-4A3B-47B1-94BF-10698A2F3134}" srcOrd="3" destOrd="0" parTransId="{227FB7D3-B9EC-4B37-8F5F-6539F54DE3C4}" sibTransId="{1B0DEFF0-B614-4BB8-8846-098ADD83940C}"/>
    <dgm:cxn modelId="{99E1F5F0-25CE-497B-BD82-7F3ADEBAE143}" srcId="{96ED4E9A-D8DF-409B-8A91-79ADC44EC3FB}" destId="{008EB0B1-944A-463C-AA45-005D821B9AD4}" srcOrd="4" destOrd="0" parTransId="{9BD521CD-3A28-4E90-A758-E16C3298150A}" sibTransId="{86D81422-B844-4FD1-B059-9E41BE7CC8FC}"/>
    <dgm:cxn modelId="{9F218FA0-FEF7-466B-B35A-E37D9DBD265D}" type="presParOf" srcId="{45DBCB0F-01E5-4993-9073-670A050CEBE7}" destId="{7F1858DC-A6F9-406E-9091-ED7A1CCCBF9F}" srcOrd="0" destOrd="0" presId="urn:microsoft.com/office/officeart/2005/8/layout/default"/>
    <dgm:cxn modelId="{B0017661-F6DB-4C74-A090-435D7FDF906C}" type="presParOf" srcId="{45DBCB0F-01E5-4993-9073-670A050CEBE7}" destId="{7D5359B4-9E8A-4F2A-ABFD-8F242A6C4BE5}" srcOrd="1" destOrd="0" presId="urn:microsoft.com/office/officeart/2005/8/layout/default"/>
    <dgm:cxn modelId="{F0A4829E-6B95-4D73-9514-55A373872DBA}" type="presParOf" srcId="{45DBCB0F-01E5-4993-9073-670A050CEBE7}" destId="{F18D4B95-78F8-4BCF-A3F7-19F057AEDBF8}" srcOrd="2" destOrd="0" presId="urn:microsoft.com/office/officeart/2005/8/layout/default"/>
    <dgm:cxn modelId="{709002DF-8497-4A8B-8F70-A81516B954ED}" type="presParOf" srcId="{45DBCB0F-01E5-4993-9073-670A050CEBE7}" destId="{80CC1998-095A-46D6-BF18-DE2556132F63}" srcOrd="3" destOrd="0" presId="urn:microsoft.com/office/officeart/2005/8/layout/default"/>
    <dgm:cxn modelId="{FCD0114A-4F82-4FD4-8340-E7943462C4E1}" type="presParOf" srcId="{45DBCB0F-01E5-4993-9073-670A050CEBE7}" destId="{395A9CFA-1E85-459E-9EE1-C893CB24D92E}" srcOrd="4" destOrd="0" presId="urn:microsoft.com/office/officeart/2005/8/layout/default"/>
    <dgm:cxn modelId="{92C4B0C8-A9FD-4A23-AF73-A4C8086596ED}" type="presParOf" srcId="{45DBCB0F-01E5-4993-9073-670A050CEBE7}" destId="{B67D1A57-2769-4CDC-A248-F12F91C03449}" srcOrd="5" destOrd="0" presId="urn:microsoft.com/office/officeart/2005/8/layout/default"/>
    <dgm:cxn modelId="{654B1CDC-5AA4-4830-8459-6DD6C6FE6970}" type="presParOf" srcId="{45DBCB0F-01E5-4993-9073-670A050CEBE7}" destId="{DC06EB2B-A8D8-4DC0-AF91-3D53F1D8BF05}" srcOrd="6" destOrd="0" presId="urn:microsoft.com/office/officeart/2005/8/layout/default"/>
    <dgm:cxn modelId="{4B7449A6-88E0-4C05-84CD-71223D5A4003}" type="presParOf" srcId="{45DBCB0F-01E5-4993-9073-670A050CEBE7}" destId="{242E87B8-B9A1-4593-9EDD-98404853C4CC}" srcOrd="7" destOrd="0" presId="urn:microsoft.com/office/officeart/2005/8/layout/default"/>
    <dgm:cxn modelId="{5374A127-DE08-4F56-9B17-CE2BFB26C33E}" type="presParOf" srcId="{45DBCB0F-01E5-4993-9073-670A050CEBE7}" destId="{47453F4F-879C-47BC-8E03-580731BCCABA}" srcOrd="8" destOrd="0" presId="urn:microsoft.com/office/officeart/2005/8/layout/default"/>
    <dgm:cxn modelId="{5475852A-AEBC-4B83-AB64-FC38D6464455}" type="presParOf" srcId="{45DBCB0F-01E5-4993-9073-670A050CEBE7}" destId="{0D1E5CDA-5C0F-47D9-848F-FB5795142183}" srcOrd="9" destOrd="0" presId="urn:microsoft.com/office/officeart/2005/8/layout/default"/>
    <dgm:cxn modelId="{3606365D-3D77-40D8-9CC1-5088F7C1D652}" type="presParOf" srcId="{45DBCB0F-01E5-4993-9073-670A050CEBE7}" destId="{3D5084C9-8FA2-4811-ABE9-78DEB9B94F61}" srcOrd="10" destOrd="0" presId="urn:microsoft.com/office/officeart/2005/8/layout/default"/>
    <dgm:cxn modelId="{03365B4D-5169-4600-BEDD-907A0DC5F2CA}" type="presParOf" srcId="{45DBCB0F-01E5-4993-9073-670A050CEBE7}" destId="{9C5C59A3-C211-4669-996A-64071ECA8D83}" srcOrd="11" destOrd="0" presId="urn:microsoft.com/office/officeart/2005/8/layout/default"/>
    <dgm:cxn modelId="{57778DD5-7F09-4593-A0E8-F30A4BF0422E}" type="presParOf" srcId="{45DBCB0F-01E5-4993-9073-670A050CEBE7}" destId="{A905C30E-D0AD-466F-AA33-DBAA960E98D7}" srcOrd="12" destOrd="0" presId="urn:microsoft.com/office/officeart/2005/8/layout/default"/>
    <dgm:cxn modelId="{2C63242E-0DC9-4C33-A142-9DFA46C0E371}" type="presParOf" srcId="{45DBCB0F-01E5-4993-9073-670A050CEBE7}" destId="{D8997699-274C-40B5-80C6-A5F7ED8D306D}" srcOrd="13" destOrd="0" presId="urn:microsoft.com/office/officeart/2005/8/layout/default"/>
    <dgm:cxn modelId="{D4DEC4EA-30D7-44FB-B47F-C4C81D063D40}" type="presParOf" srcId="{45DBCB0F-01E5-4993-9073-670A050CEBE7}" destId="{6E52CAE4-574B-4035-80AE-3B52872B25E0}" srcOrd="1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6ED4E9A-D8DF-409B-8A91-79ADC44EC3FB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lt-LT"/>
        </a:p>
      </dgm:t>
    </dgm:pt>
    <dgm:pt modelId="{EE7598CA-DAFE-4C46-961B-DC5CA13197FB}">
      <dgm:prSet phldrT="[Text]"/>
      <dgm:spPr>
        <a:ln>
          <a:noFill/>
        </a:ln>
      </dgm:spPr>
      <dgm:t>
        <a:bodyPr/>
        <a:lstStyle/>
        <a:p>
          <a:r>
            <a:rPr lang="lt-LT" dirty="0"/>
            <a:t>Jaukintis technologijas</a:t>
          </a:r>
        </a:p>
      </dgm:t>
    </dgm:pt>
    <dgm:pt modelId="{891C77D5-17B0-4AA4-8145-07A429B95B1B}" type="parTrans" cxnId="{E9230941-8161-4899-804E-8A071501688A}">
      <dgm:prSet/>
      <dgm:spPr/>
      <dgm:t>
        <a:bodyPr/>
        <a:lstStyle/>
        <a:p>
          <a:endParaRPr lang="lt-LT"/>
        </a:p>
      </dgm:t>
    </dgm:pt>
    <dgm:pt modelId="{B84E8FCC-37D5-44F2-BD2D-10ADD9D6DB6F}" type="sibTrans" cxnId="{E9230941-8161-4899-804E-8A071501688A}">
      <dgm:prSet/>
      <dgm:spPr/>
      <dgm:t>
        <a:bodyPr/>
        <a:lstStyle/>
        <a:p>
          <a:endParaRPr lang="lt-LT"/>
        </a:p>
      </dgm:t>
    </dgm:pt>
    <dgm:pt modelId="{899A6383-1FFE-44C5-B69F-95D765983345}">
      <dgm:prSet phldrT="[Text]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lt-LT" dirty="0"/>
            <a:t>Investuoti į vadovų ugdymą – jie nukreips darbuotojus</a:t>
          </a:r>
        </a:p>
      </dgm:t>
    </dgm:pt>
    <dgm:pt modelId="{F40DED1D-F7D5-4AEA-8C47-E9E841E83847}" type="parTrans" cxnId="{B0222CD8-8FB3-462F-89F3-8573C20DF4EA}">
      <dgm:prSet/>
      <dgm:spPr/>
      <dgm:t>
        <a:bodyPr/>
        <a:lstStyle/>
        <a:p>
          <a:endParaRPr lang="lt-LT"/>
        </a:p>
      </dgm:t>
    </dgm:pt>
    <dgm:pt modelId="{5EB8C69E-E72F-4952-A3A1-3EBD609E7782}" type="sibTrans" cxnId="{B0222CD8-8FB3-462F-89F3-8573C20DF4EA}">
      <dgm:prSet/>
      <dgm:spPr/>
      <dgm:t>
        <a:bodyPr/>
        <a:lstStyle/>
        <a:p>
          <a:endParaRPr lang="lt-LT"/>
        </a:p>
      </dgm:t>
    </dgm:pt>
    <dgm:pt modelId="{941BD1C5-31CF-477B-A723-5E3C811312BE}">
      <dgm:prSet phldrT="[Text]"/>
      <dgm:spPr>
        <a:solidFill>
          <a:schemeClr val="accent4"/>
        </a:solidFill>
        <a:ln>
          <a:noFill/>
        </a:ln>
      </dgm:spPr>
      <dgm:t>
        <a:bodyPr/>
        <a:lstStyle/>
        <a:p>
          <a:r>
            <a:rPr lang="lt-LT" dirty="0" err="1"/>
            <a:t>Upskill</a:t>
          </a:r>
          <a:r>
            <a:rPr lang="lt-LT" dirty="0"/>
            <a:t> programos / individualios veiklos</a:t>
          </a:r>
        </a:p>
      </dgm:t>
    </dgm:pt>
    <dgm:pt modelId="{42F1429D-CCF6-4DAE-BB42-DAD4263D5A27}" type="parTrans" cxnId="{C99A53A8-C083-42A5-A783-8656A7CE70E8}">
      <dgm:prSet/>
      <dgm:spPr/>
      <dgm:t>
        <a:bodyPr/>
        <a:lstStyle/>
        <a:p>
          <a:endParaRPr lang="lt-LT"/>
        </a:p>
      </dgm:t>
    </dgm:pt>
    <dgm:pt modelId="{F3247CFD-52D5-47C8-BB6A-E63106D4E634}" type="sibTrans" cxnId="{C99A53A8-C083-42A5-A783-8656A7CE70E8}">
      <dgm:prSet/>
      <dgm:spPr/>
      <dgm:t>
        <a:bodyPr/>
        <a:lstStyle/>
        <a:p>
          <a:endParaRPr lang="lt-LT"/>
        </a:p>
      </dgm:t>
    </dgm:pt>
    <dgm:pt modelId="{383840AB-4A3B-47B1-94BF-10698A2F3134}">
      <dgm:prSet phldrT="[Text]"/>
      <dgm:spPr>
        <a:solidFill>
          <a:schemeClr val="accent2"/>
        </a:solidFill>
        <a:ln>
          <a:noFill/>
        </a:ln>
      </dgm:spPr>
      <dgm:t>
        <a:bodyPr/>
        <a:lstStyle/>
        <a:p>
          <a:r>
            <a:rPr lang="lt-LT" dirty="0"/>
            <a:t>Psichikos sveikatos klausimai</a:t>
          </a:r>
        </a:p>
      </dgm:t>
    </dgm:pt>
    <dgm:pt modelId="{227FB7D3-B9EC-4B37-8F5F-6539F54DE3C4}" type="parTrans" cxnId="{423DADE8-DCE0-4201-9A74-790D889FDC50}">
      <dgm:prSet/>
      <dgm:spPr/>
      <dgm:t>
        <a:bodyPr/>
        <a:lstStyle/>
        <a:p>
          <a:endParaRPr lang="lt-LT"/>
        </a:p>
      </dgm:t>
    </dgm:pt>
    <dgm:pt modelId="{1B0DEFF0-B614-4BB8-8846-098ADD83940C}" type="sibTrans" cxnId="{423DADE8-DCE0-4201-9A74-790D889FDC50}">
      <dgm:prSet/>
      <dgm:spPr/>
      <dgm:t>
        <a:bodyPr/>
        <a:lstStyle/>
        <a:p>
          <a:endParaRPr lang="lt-LT"/>
        </a:p>
      </dgm:t>
    </dgm:pt>
    <dgm:pt modelId="{008EB0B1-944A-463C-AA45-005D821B9AD4}">
      <dgm:prSet phldrT="[Text]"/>
      <dgm:spPr>
        <a:solidFill>
          <a:schemeClr val="accent4">
            <a:lumMod val="75000"/>
          </a:schemeClr>
        </a:solidFill>
        <a:ln>
          <a:noFill/>
        </a:ln>
      </dgm:spPr>
      <dgm:t>
        <a:bodyPr/>
        <a:lstStyle/>
        <a:p>
          <a:r>
            <a:rPr lang="lt-LT" dirty="0"/>
            <a:t>Smalsumas atrasti naujoves, net jeigu ir dabar jų nenusipirksi</a:t>
          </a:r>
        </a:p>
      </dgm:t>
    </dgm:pt>
    <dgm:pt modelId="{9BD521CD-3A28-4E90-A758-E16C3298150A}" type="parTrans" cxnId="{99E1F5F0-25CE-497B-BD82-7F3ADEBAE143}">
      <dgm:prSet/>
      <dgm:spPr/>
      <dgm:t>
        <a:bodyPr/>
        <a:lstStyle/>
        <a:p>
          <a:endParaRPr lang="lt-LT"/>
        </a:p>
      </dgm:t>
    </dgm:pt>
    <dgm:pt modelId="{86D81422-B844-4FD1-B059-9E41BE7CC8FC}" type="sibTrans" cxnId="{99E1F5F0-25CE-497B-BD82-7F3ADEBAE143}">
      <dgm:prSet/>
      <dgm:spPr/>
      <dgm:t>
        <a:bodyPr/>
        <a:lstStyle/>
        <a:p>
          <a:endParaRPr lang="lt-LT"/>
        </a:p>
      </dgm:t>
    </dgm:pt>
    <dgm:pt modelId="{79577F7A-F026-4660-AAEF-1C153BB8FA40}">
      <dgm:prSet/>
      <dgm:spPr>
        <a:solidFill>
          <a:schemeClr val="accent5"/>
        </a:solidFill>
        <a:ln>
          <a:noFill/>
        </a:ln>
      </dgm:spPr>
      <dgm:t>
        <a:bodyPr/>
        <a:lstStyle/>
        <a:p>
          <a:r>
            <a:rPr lang="lt-LT" dirty="0"/>
            <a:t>Procesų kūrimas, įtraukiant dialogą</a:t>
          </a:r>
        </a:p>
      </dgm:t>
    </dgm:pt>
    <dgm:pt modelId="{7F166F9A-2F15-42E3-8689-AFBA48C355A5}" type="parTrans" cxnId="{330D2F43-E836-469A-8587-F70A10050FE0}">
      <dgm:prSet/>
      <dgm:spPr/>
      <dgm:t>
        <a:bodyPr/>
        <a:lstStyle/>
        <a:p>
          <a:endParaRPr lang="lt-LT"/>
        </a:p>
      </dgm:t>
    </dgm:pt>
    <dgm:pt modelId="{C6B3B4D1-E4EE-4DF9-9F27-599800D5D3A1}" type="sibTrans" cxnId="{330D2F43-E836-469A-8587-F70A10050FE0}">
      <dgm:prSet/>
      <dgm:spPr/>
      <dgm:t>
        <a:bodyPr/>
        <a:lstStyle/>
        <a:p>
          <a:endParaRPr lang="lt-LT"/>
        </a:p>
      </dgm:t>
    </dgm:pt>
    <dgm:pt modelId="{3D5B8FFC-A211-4C18-886A-3A755046E125}">
      <dgm:prSet/>
      <dgm:spPr>
        <a:solidFill>
          <a:srgbClr val="8ACDC3"/>
        </a:solidFill>
        <a:ln>
          <a:noFill/>
        </a:ln>
      </dgm:spPr>
      <dgm:t>
        <a:bodyPr/>
        <a:lstStyle/>
        <a:p>
          <a:r>
            <a:rPr lang="lt-LT" dirty="0"/>
            <a:t>Vidinės karjeros erdvės</a:t>
          </a:r>
        </a:p>
      </dgm:t>
    </dgm:pt>
    <dgm:pt modelId="{3FF551F7-F2AB-440D-9881-D281A5B351B9}" type="parTrans" cxnId="{5DD9F17B-CF21-4BF7-8301-205EC5A47B4F}">
      <dgm:prSet/>
      <dgm:spPr/>
      <dgm:t>
        <a:bodyPr/>
        <a:lstStyle/>
        <a:p>
          <a:endParaRPr lang="lt-LT"/>
        </a:p>
      </dgm:t>
    </dgm:pt>
    <dgm:pt modelId="{BD2CCE50-A7DD-492B-A7A0-7BFD1AB3DF42}" type="sibTrans" cxnId="{5DD9F17B-CF21-4BF7-8301-205EC5A47B4F}">
      <dgm:prSet/>
      <dgm:spPr/>
      <dgm:t>
        <a:bodyPr/>
        <a:lstStyle/>
        <a:p>
          <a:endParaRPr lang="lt-LT"/>
        </a:p>
      </dgm:t>
    </dgm:pt>
    <dgm:pt modelId="{32483FFB-9D7A-40A2-A483-A30792C50F0A}">
      <dgm:prSet/>
      <dgm:spPr>
        <a:ln>
          <a:noFill/>
        </a:ln>
      </dgm:spPr>
      <dgm:t>
        <a:bodyPr/>
        <a:lstStyle/>
        <a:p>
          <a:r>
            <a:rPr lang="lt-LT" dirty="0"/>
            <a:t>Darbuotojų augimo mąstysenos ugdymas</a:t>
          </a:r>
        </a:p>
      </dgm:t>
    </dgm:pt>
    <dgm:pt modelId="{CAD1EC35-DE0F-466B-91FD-BC71E384E7A6}" type="parTrans" cxnId="{F4F74010-BE29-4CEB-B652-9B723AAA0C70}">
      <dgm:prSet/>
      <dgm:spPr/>
      <dgm:t>
        <a:bodyPr/>
        <a:lstStyle/>
        <a:p>
          <a:endParaRPr lang="lt-LT"/>
        </a:p>
      </dgm:t>
    </dgm:pt>
    <dgm:pt modelId="{874EAB05-9DDD-475E-B6D0-FC50B3B2C07C}" type="sibTrans" cxnId="{F4F74010-BE29-4CEB-B652-9B723AAA0C70}">
      <dgm:prSet/>
      <dgm:spPr/>
      <dgm:t>
        <a:bodyPr/>
        <a:lstStyle/>
        <a:p>
          <a:endParaRPr lang="lt-LT"/>
        </a:p>
      </dgm:t>
    </dgm:pt>
    <dgm:pt modelId="{45DBCB0F-01E5-4993-9073-670A050CEBE7}" type="pres">
      <dgm:prSet presAssocID="{96ED4E9A-D8DF-409B-8A91-79ADC44EC3FB}" presName="diagram" presStyleCnt="0">
        <dgm:presLayoutVars>
          <dgm:dir/>
          <dgm:resizeHandles val="exact"/>
        </dgm:presLayoutVars>
      </dgm:prSet>
      <dgm:spPr/>
    </dgm:pt>
    <dgm:pt modelId="{7F1858DC-A6F9-406E-9091-ED7A1CCCBF9F}" type="pres">
      <dgm:prSet presAssocID="{EE7598CA-DAFE-4C46-961B-DC5CA13197FB}" presName="node" presStyleLbl="node1" presStyleIdx="0" presStyleCnt="8">
        <dgm:presLayoutVars>
          <dgm:bulletEnabled val="1"/>
        </dgm:presLayoutVars>
      </dgm:prSet>
      <dgm:spPr/>
    </dgm:pt>
    <dgm:pt modelId="{7D5359B4-9E8A-4F2A-ABFD-8F242A6C4BE5}" type="pres">
      <dgm:prSet presAssocID="{B84E8FCC-37D5-44F2-BD2D-10ADD9D6DB6F}" presName="sibTrans" presStyleCnt="0"/>
      <dgm:spPr/>
    </dgm:pt>
    <dgm:pt modelId="{F18D4B95-78F8-4BCF-A3F7-19F057AEDBF8}" type="pres">
      <dgm:prSet presAssocID="{899A6383-1FFE-44C5-B69F-95D765983345}" presName="node" presStyleLbl="node1" presStyleIdx="1" presStyleCnt="8">
        <dgm:presLayoutVars>
          <dgm:bulletEnabled val="1"/>
        </dgm:presLayoutVars>
      </dgm:prSet>
      <dgm:spPr/>
    </dgm:pt>
    <dgm:pt modelId="{80CC1998-095A-46D6-BF18-DE2556132F63}" type="pres">
      <dgm:prSet presAssocID="{5EB8C69E-E72F-4952-A3A1-3EBD609E7782}" presName="sibTrans" presStyleCnt="0"/>
      <dgm:spPr/>
    </dgm:pt>
    <dgm:pt modelId="{395A9CFA-1E85-459E-9EE1-C893CB24D92E}" type="pres">
      <dgm:prSet presAssocID="{941BD1C5-31CF-477B-A723-5E3C811312BE}" presName="node" presStyleLbl="node1" presStyleIdx="2" presStyleCnt="8">
        <dgm:presLayoutVars>
          <dgm:bulletEnabled val="1"/>
        </dgm:presLayoutVars>
      </dgm:prSet>
      <dgm:spPr/>
    </dgm:pt>
    <dgm:pt modelId="{B67D1A57-2769-4CDC-A248-F12F91C03449}" type="pres">
      <dgm:prSet presAssocID="{F3247CFD-52D5-47C8-BB6A-E63106D4E634}" presName="sibTrans" presStyleCnt="0"/>
      <dgm:spPr/>
    </dgm:pt>
    <dgm:pt modelId="{DC06EB2B-A8D8-4DC0-AF91-3D53F1D8BF05}" type="pres">
      <dgm:prSet presAssocID="{383840AB-4A3B-47B1-94BF-10698A2F3134}" presName="node" presStyleLbl="node1" presStyleIdx="3" presStyleCnt="8">
        <dgm:presLayoutVars>
          <dgm:bulletEnabled val="1"/>
        </dgm:presLayoutVars>
      </dgm:prSet>
      <dgm:spPr/>
    </dgm:pt>
    <dgm:pt modelId="{242E87B8-B9A1-4593-9EDD-98404853C4CC}" type="pres">
      <dgm:prSet presAssocID="{1B0DEFF0-B614-4BB8-8846-098ADD83940C}" presName="sibTrans" presStyleCnt="0"/>
      <dgm:spPr/>
    </dgm:pt>
    <dgm:pt modelId="{47453F4F-879C-47BC-8E03-580731BCCABA}" type="pres">
      <dgm:prSet presAssocID="{008EB0B1-944A-463C-AA45-005D821B9AD4}" presName="node" presStyleLbl="node1" presStyleIdx="4" presStyleCnt="8">
        <dgm:presLayoutVars>
          <dgm:bulletEnabled val="1"/>
        </dgm:presLayoutVars>
      </dgm:prSet>
      <dgm:spPr/>
    </dgm:pt>
    <dgm:pt modelId="{0D1E5CDA-5C0F-47D9-848F-FB5795142183}" type="pres">
      <dgm:prSet presAssocID="{86D81422-B844-4FD1-B059-9E41BE7CC8FC}" presName="sibTrans" presStyleCnt="0"/>
      <dgm:spPr/>
    </dgm:pt>
    <dgm:pt modelId="{3D5084C9-8FA2-4811-ABE9-78DEB9B94F61}" type="pres">
      <dgm:prSet presAssocID="{79577F7A-F026-4660-AAEF-1C153BB8FA40}" presName="node" presStyleLbl="node1" presStyleIdx="5" presStyleCnt="8">
        <dgm:presLayoutVars>
          <dgm:bulletEnabled val="1"/>
        </dgm:presLayoutVars>
      </dgm:prSet>
      <dgm:spPr/>
    </dgm:pt>
    <dgm:pt modelId="{9C5C59A3-C211-4669-996A-64071ECA8D83}" type="pres">
      <dgm:prSet presAssocID="{C6B3B4D1-E4EE-4DF9-9F27-599800D5D3A1}" presName="sibTrans" presStyleCnt="0"/>
      <dgm:spPr/>
    </dgm:pt>
    <dgm:pt modelId="{A905C30E-D0AD-466F-AA33-DBAA960E98D7}" type="pres">
      <dgm:prSet presAssocID="{3D5B8FFC-A211-4C18-886A-3A755046E125}" presName="node" presStyleLbl="node1" presStyleIdx="6" presStyleCnt="8">
        <dgm:presLayoutVars>
          <dgm:bulletEnabled val="1"/>
        </dgm:presLayoutVars>
      </dgm:prSet>
      <dgm:spPr/>
    </dgm:pt>
    <dgm:pt modelId="{D8997699-274C-40B5-80C6-A5F7ED8D306D}" type="pres">
      <dgm:prSet presAssocID="{BD2CCE50-A7DD-492B-A7A0-7BFD1AB3DF42}" presName="sibTrans" presStyleCnt="0"/>
      <dgm:spPr/>
    </dgm:pt>
    <dgm:pt modelId="{6E52CAE4-574B-4035-80AE-3B52872B25E0}" type="pres">
      <dgm:prSet presAssocID="{32483FFB-9D7A-40A2-A483-A30792C50F0A}" presName="node" presStyleLbl="node1" presStyleIdx="7" presStyleCnt="8">
        <dgm:presLayoutVars>
          <dgm:bulletEnabled val="1"/>
        </dgm:presLayoutVars>
      </dgm:prSet>
      <dgm:spPr/>
    </dgm:pt>
  </dgm:ptLst>
  <dgm:cxnLst>
    <dgm:cxn modelId="{F4F74010-BE29-4CEB-B652-9B723AAA0C70}" srcId="{96ED4E9A-D8DF-409B-8A91-79ADC44EC3FB}" destId="{32483FFB-9D7A-40A2-A483-A30792C50F0A}" srcOrd="7" destOrd="0" parTransId="{CAD1EC35-DE0F-466B-91FD-BC71E384E7A6}" sibTransId="{874EAB05-9DDD-475E-B6D0-FC50B3B2C07C}"/>
    <dgm:cxn modelId="{24BC9B1D-6EDE-4F50-B072-379F2CC5C440}" type="presOf" srcId="{941BD1C5-31CF-477B-A723-5E3C811312BE}" destId="{395A9CFA-1E85-459E-9EE1-C893CB24D92E}" srcOrd="0" destOrd="0" presId="urn:microsoft.com/office/officeart/2005/8/layout/default"/>
    <dgm:cxn modelId="{EFA5C232-1FB0-4A70-BBCB-6D0A002F15DB}" type="presOf" srcId="{79577F7A-F026-4660-AAEF-1C153BB8FA40}" destId="{3D5084C9-8FA2-4811-ABE9-78DEB9B94F61}" srcOrd="0" destOrd="0" presId="urn:microsoft.com/office/officeart/2005/8/layout/default"/>
    <dgm:cxn modelId="{A4C2283B-21C2-4389-ABC2-E774B6CBDFD7}" type="presOf" srcId="{3D5B8FFC-A211-4C18-886A-3A755046E125}" destId="{A905C30E-D0AD-466F-AA33-DBAA960E98D7}" srcOrd="0" destOrd="0" presId="urn:microsoft.com/office/officeart/2005/8/layout/default"/>
    <dgm:cxn modelId="{E9230941-8161-4899-804E-8A071501688A}" srcId="{96ED4E9A-D8DF-409B-8A91-79ADC44EC3FB}" destId="{EE7598CA-DAFE-4C46-961B-DC5CA13197FB}" srcOrd="0" destOrd="0" parTransId="{891C77D5-17B0-4AA4-8145-07A429B95B1B}" sibTransId="{B84E8FCC-37D5-44F2-BD2D-10ADD9D6DB6F}"/>
    <dgm:cxn modelId="{6F2B1E43-D3AC-4629-A962-93623C906DC4}" type="presOf" srcId="{899A6383-1FFE-44C5-B69F-95D765983345}" destId="{F18D4B95-78F8-4BCF-A3F7-19F057AEDBF8}" srcOrd="0" destOrd="0" presId="urn:microsoft.com/office/officeart/2005/8/layout/default"/>
    <dgm:cxn modelId="{330D2F43-E836-469A-8587-F70A10050FE0}" srcId="{96ED4E9A-D8DF-409B-8A91-79ADC44EC3FB}" destId="{79577F7A-F026-4660-AAEF-1C153BB8FA40}" srcOrd="5" destOrd="0" parTransId="{7F166F9A-2F15-42E3-8689-AFBA48C355A5}" sibTransId="{C6B3B4D1-E4EE-4DF9-9F27-599800D5D3A1}"/>
    <dgm:cxn modelId="{9A93BF4C-C3F9-45EB-8BD0-AE9499519BC8}" type="presOf" srcId="{96ED4E9A-D8DF-409B-8A91-79ADC44EC3FB}" destId="{45DBCB0F-01E5-4993-9073-670A050CEBE7}" srcOrd="0" destOrd="0" presId="urn:microsoft.com/office/officeart/2005/8/layout/default"/>
    <dgm:cxn modelId="{63CA6370-2225-41E2-86BA-0DDC3EA6BD9C}" type="presOf" srcId="{32483FFB-9D7A-40A2-A483-A30792C50F0A}" destId="{6E52CAE4-574B-4035-80AE-3B52872B25E0}" srcOrd="0" destOrd="0" presId="urn:microsoft.com/office/officeart/2005/8/layout/default"/>
    <dgm:cxn modelId="{99304E51-2A2C-4D4C-A224-3CDC437DDAD7}" type="presOf" srcId="{383840AB-4A3B-47B1-94BF-10698A2F3134}" destId="{DC06EB2B-A8D8-4DC0-AF91-3D53F1D8BF05}" srcOrd="0" destOrd="0" presId="urn:microsoft.com/office/officeart/2005/8/layout/default"/>
    <dgm:cxn modelId="{5DD9F17B-CF21-4BF7-8301-205EC5A47B4F}" srcId="{96ED4E9A-D8DF-409B-8A91-79ADC44EC3FB}" destId="{3D5B8FFC-A211-4C18-886A-3A755046E125}" srcOrd="6" destOrd="0" parTransId="{3FF551F7-F2AB-440D-9881-D281A5B351B9}" sibTransId="{BD2CCE50-A7DD-492B-A7A0-7BFD1AB3DF42}"/>
    <dgm:cxn modelId="{C4FE03A8-29FA-43A4-9EFF-47477ED108B6}" type="presOf" srcId="{EE7598CA-DAFE-4C46-961B-DC5CA13197FB}" destId="{7F1858DC-A6F9-406E-9091-ED7A1CCCBF9F}" srcOrd="0" destOrd="0" presId="urn:microsoft.com/office/officeart/2005/8/layout/default"/>
    <dgm:cxn modelId="{C99A53A8-C083-42A5-A783-8656A7CE70E8}" srcId="{96ED4E9A-D8DF-409B-8A91-79ADC44EC3FB}" destId="{941BD1C5-31CF-477B-A723-5E3C811312BE}" srcOrd="2" destOrd="0" parTransId="{42F1429D-CCF6-4DAE-BB42-DAD4263D5A27}" sibTransId="{F3247CFD-52D5-47C8-BB6A-E63106D4E634}"/>
    <dgm:cxn modelId="{904D7FD6-57A2-4A64-A199-422449AF0D2B}" type="presOf" srcId="{008EB0B1-944A-463C-AA45-005D821B9AD4}" destId="{47453F4F-879C-47BC-8E03-580731BCCABA}" srcOrd="0" destOrd="0" presId="urn:microsoft.com/office/officeart/2005/8/layout/default"/>
    <dgm:cxn modelId="{B0222CD8-8FB3-462F-89F3-8573C20DF4EA}" srcId="{96ED4E9A-D8DF-409B-8A91-79ADC44EC3FB}" destId="{899A6383-1FFE-44C5-B69F-95D765983345}" srcOrd="1" destOrd="0" parTransId="{F40DED1D-F7D5-4AEA-8C47-E9E841E83847}" sibTransId="{5EB8C69E-E72F-4952-A3A1-3EBD609E7782}"/>
    <dgm:cxn modelId="{423DADE8-DCE0-4201-9A74-790D889FDC50}" srcId="{96ED4E9A-D8DF-409B-8A91-79ADC44EC3FB}" destId="{383840AB-4A3B-47B1-94BF-10698A2F3134}" srcOrd="3" destOrd="0" parTransId="{227FB7D3-B9EC-4B37-8F5F-6539F54DE3C4}" sibTransId="{1B0DEFF0-B614-4BB8-8846-098ADD83940C}"/>
    <dgm:cxn modelId="{99E1F5F0-25CE-497B-BD82-7F3ADEBAE143}" srcId="{96ED4E9A-D8DF-409B-8A91-79ADC44EC3FB}" destId="{008EB0B1-944A-463C-AA45-005D821B9AD4}" srcOrd="4" destOrd="0" parTransId="{9BD521CD-3A28-4E90-A758-E16C3298150A}" sibTransId="{86D81422-B844-4FD1-B059-9E41BE7CC8FC}"/>
    <dgm:cxn modelId="{9F218FA0-FEF7-466B-B35A-E37D9DBD265D}" type="presParOf" srcId="{45DBCB0F-01E5-4993-9073-670A050CEBE7}" destId="{7F1858DC-A6F9-406E-9091-ED7A1CCCBF9F}" srcOrd="0" destOrd="0" presId="urn:microsoft.com/office/officeart/2005/8/layout/default"/>
    <dgm:cxn modelId="{B0017661-F6DB-4C74-A090-435D7FDF906C}" type="presParOf" srcId="{45DBCB0F-01E5-4993-9073-670A050CEBE7}" destId="{7D5359B4-9E8A-4F2A-ABFD-8F242A6C4BE5}" srcOrd="1" destOrd="0" presId="urn:microsoft.com/office/officeart/2005/8/layout/default"/>
    <dgm:cxn modelId="{F0A4829E-6B95-4D73-9514-55A373872DBA}" type="presParOf" srcId="{45DBCB0F-01E5-4993-9073-670A050CEBE7}" destId="{F18D4B95-78F8-4BCF-A3F7-19F057AEDBF8}" srcOrd="2" destOrd="0" presId="urn:microsoft.com/office/officeart/2005/8/layout/default"/>
    <dgm:cxn modelId="{709002DF-8497-4A8B-8F70-A81516B954ED}" type="presParOf" srcId="{45DBCB0F-01E5-4993-9073-670A050CEBE7}" destId="{80CC1998-095A-46D6-BF18-DE2556132F63}" srcOrd="3" destOrd="0" presId="urn:microsoft.com/office/officeart/2005/8/layout/default"/>
    <dgm:cxn modelId="{FCD0114A-4F82-4FD4-8340-E7943462C4E1}" type="presParOf" srcId="{45DBCB0F-01E5-4993-9073-670A050CEBE7}" destId="{395A9CFA-1E85-459E-9EE1-C893CB24D92E}" srcOrd="4" destOrd="0" presId="urn:microsoft.com/office/officeart/2005/8/layout/default"/>
    <dgm:cxn modelId="{92C4B0C8-A9FD-4A23-AF73-A4C8086596ED}" type="presParOf" srcId="{45DBCB0F-01E5-4993-9073-670A050CEBE7}" destId="{B67D1A57-2769-4CDC-A248-F12F91C03449}" srcOrd="5" destOrd="0" presId="urn:microsoft.com/office/officeart/2005/8/layout/default"/>
    <dgm:cxn modelId="{654B1CDC-5AA4-4830-8459-6DD6C6FE6970}" type="presParOf" srcId="{45DBCB0F-01E5-4993-9073-670A050CEBE7}" destId="{DC06EB2B-A8D8-4DC0-AF91-3D53F1D8BF05}" srcOrd="6" destOrd="0" presId="urn:microsoft.com/office/officeart/2005/8/layout/default"/>
    <dgm:cxn modelId="{4B7449A6-88E0-4C05-84CD-71223D5A4003}" type="presParOf" srcId="{45DBCB0F-01E5-4993-9073-670A050CEBE7}" destId="{242E87B8-B9A1-4593-9EDD-98404853C4CC}" srcOrd="7" destOrd="0" presId="urn:microsoft.com/office/officeart/2005/8/layout/default"/>
    <dgm:cxn modelId="{5374A127-DE08-4F56-9B17-CE2BFB26C33E}" type="presParOf" srcId="{45DBCB0F-01E5-4993-9073-670A050CEBE7}" destId="{47453F4F-879C-47BC-8E03-580731BCCABA}" srcOrd="8" destOrd="0" presId="urn:microsoft.com/office/officeart/2005/8/layout/default"/>
    <dgm:cxn modelId="{5475852A-AEBC-4B83-AB64-FC38D6464455}" type="presParOf" srcId="{45DBCB0F-01E5-4993-9073-670A050CEBE7}" destId="{0D1E5CDA-5C0F-47D9-848F-FB5795142183}" srcOrd="9" destOrd="0" presId="urn:microsoft.com/office/officeart/2005/8/layout/default"/>
    <dgm:cxn modelId="{3606365D-3D77-40D8-9CC1-5088F7C1D652}" type="presParOf" srcId="{45DBCB0F-01E5-4993-9073-670A050CEBE7}" destId="{3D5084C9-8FA2-4811-ABE9-78DEB9B94F61}" srcOrd="10" destOrd="0" presId="urn:microsoft.com/office/officeart/2005/8/layout/default"/>
    <dgm:cxn modelId="{03365B4D-5169-4600-BEDD-907A0DC5F2CA}" type="presParOf" srcId="{45DBCB0F-01E5-4993-9073-670A050CEBE7}" destId="{9C5C59A3-C211-4669-996A-64071ECA8D83}" srcOrd="11" destOrd="0" presId="urn:microsoft.com/office/officeart/2005/8/layout/default"/>
    <dgm:cxn modelId="{57778DD5-7F09-4593-A0E8-F30A4BF0422E}" type="presParOf" srcId="{45DBCB0F-01E5-4993-9073-670A050CEBE7}" destId="{A905C30E-D0AD-466F-AA33-DBAA960E98D7}" srcOrd="12" destOrd="0" presId="urn:microsoft.com/office/officeart/2005/8/layout/default"/>
    <dgm:cxn modelId="{2C63242E-0DC9-4C33-A142-9DFA46C0E371}" type="presParOf" srcId="{45DBCB0F-01E5-4993-9073-670A050CEBE7}" destId="{D8997699-274C-40B5-80C6-A5F7ED8D306D}" srcOrd="13" destOrd="0" presId="urn:microsoft.com/office/officeart/2005/8/layout/default"/>
    <dgm:cxn modelId="{D4DEC4EA-30D7-44FB-B47F-C4C81D063D40}" type="presParOf" srcId="{45DBCB0F-01E5-4993-9073-670A050CEBE7}" destId="{6E52CAE4-574B-4035-80AE-3B52872B25E0}" srcOrd="1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F1858DC-A6F9-406E-9091-ED7A1CCCBF9F}">
      <dsp:nvSpPr>
        <dsp:cNvPr id="0" name=""/>
        <dsp:cNvSpPr/>
      </dsp:nvSpPr>
      <dsp:spPr>
        <a:xfrm>
          <a:off x="3275" y="398379"/>
          <a:ext cx="2598742" cy="155924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Talent Marketplaces</a:t>
          </a:r>
          <a:endParaRPr lang="lt-LT" sz="2200" kern="1200" dirty="0"/>
        </a:p>
      </dsp:txBody>
      <dsp:txXfrm>
        <a:off x="3275" y="398379"/>
        <a:ext cx="2598742" cy="1559245"/>
      </dsp:txXfrm>
    </dsp:sp>
    <dsp:sp modelId="{F18D4B95-78F8-4BCF-A3F7-19F057AEDBF8}">
      <dsp:nvSpPr>
        <dsp:cNvPr id="0" name=""/>
        <dsp:cNvSpPr/>
      </dsp:nvSpPr>
      <dsp:spPr>
        <a:xfrm>
          <a:off x="2861892" y="398379"/>
          <a:ext cx="2598742" cy="1559245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Capability Academies</a:t>
          </a:r>
          <a:endParaRPr lang="lt-LT" sz="2200" kern="1200" dirty="0"/>
        </a:p>
      </dsp:txBody>
      <dsp:txXfrm>
        <a:off x="2861892" y="398379"/>
        <a:ext cx="2598742" cy="1559245"/>
      </dsp:txXfrm>
    </dsp:sp>
    <dsp:sp modelId="{395A9CFA-1E85-459E-9EE1-C893CB24D92E}">
      <dsp:nvSpPr>
        <dsp:cNvPr id="0" name=""/>
        <dsp:cNvSpPr/>
      </dsp:nvSpPr>
      <dsp:spPr>
        <a:xfrm>
          <a:off x="5720510" y="398379"/>
          <a:ext cx="2598742" cy="1559245"/>
        </a:xfrm>
        <a:prstGeom prst="rect">
          <a:avLst/>
        </a:prstGeom>
        <a:solidFill>
          <a:schemeClr val="accent4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Employee Experience Platforms</a:t>
          </a:r>
          <a:endParaRPr lang="lt-LT" sz="2200" kern="1200" dirty="0"/>
        </a:p>
      </dsp:txBody>
      <dsp:txXfrm>
        <a:off x="5720510" y="398379"/>
        <a:ext cx="2598742" cy="1559245"/>
      </dsp:txXfrm>
    </dsp:sp>
    <dsp:sp modelId="{DC06EB2B-A8D8-4DC0-AF91-3D53F1D8BF05}">
      <dsp:nvSpPr>
        <dsp:cNvPr id="0" name=""/>
        <dsp:cNvSpPr/>
      </dsp:nvSpPr>
      <dsp:spPr>
        <a:xfrm>
          <a:off x="8579127" y="398379"/>
          <a:ext cx="2598742" cy="1559245"/>
        </a:xfrm>
        <a:prstGeom prst="rect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2200" kern="1200" dirty="0">
              <a:latin typeface="Arial" panose="020B0604020202020204" pitchFamily="34" charset="0"/>
              <a:cs typeface="Arial" panose="020B0604020202020204" pitchFamily="34" charset="0"/>
            </a:rPr>
            <a:t>M</a:t>
          </a:r>
          <a:r>
            <a:rPr lang="en-US" sz="220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id-market talent suites </a:t>
          </a:r>
          <a:endParaRPr lang="lt-LT" sz="2200" kern="1200" dirty="0"/>
        </a:p>
      </dsp:txBody>
      <dsp:txXfrm>
        <a:off x="8579127" y="398379"/>
        <a:ext cx="2598742" cy="1559245"/>
      </dsp:txXfrm>
    </dsp:sp>
    <dsp:sp modelId="{47453F4F-879C-47BC-8E03-580731BCCABA}">
      <dsp:nvSpPr>
        <dsp:cNvPr id="0" name=""/>
        <dsp:cNvSpPr/>
      </dsp:nvSpPr>
      <dsp:spPr>
        <a:xfrm>
          <a:off x="3275" y="2217499"/>
          <a:ext cx="2598742" cy="1559245"/>
        </a:xfrm>
        <a:prstGeom prst="rect">
          <a:avLst/>
        </a:prstGeom>
        <a:solidFill>
          <a:schemeClr val="accent4">
            <a:lumMod val="7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Employee Listening, Wellbeing and Rewards Platforms</a:t>
          </a:r>
          <a:endParaRPr lang="lt-LT" sz="2200" kern="1200" dirty="0"/>
        </a:p>
      </dsp:txBody>
      <dsp:txXfrm>
        <a:off x="3275" y="2217499"/>
        <a:ext cx="2598742" cy="1559245"/>
      </dsp:txXfrm>
    </dsp:sp>
    <dsp:sp modelId="{3D5084C9-8FA2-4811-ABE9-78DEB9B94F61}">
      <dsp:nvSpPr>
        <dsp:cNvPr id="0" name=""/>
        <dsp:cNvSpPr/>
      </dsp:nvSpPr>
      <dsp:spPr>
        <a:xfrm>
          <a:off x="2861892" y="2217499"/>
          <a:ext cx="2598742" cy="1559245"/>
        </a:xfrm>
        <a:prstGeom prst="rect">
          <a:avLst/>
        </a:prstGeom>
        <a:solidFill>
          <a:schemeClr val="accent5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Coaching and Leadership Platforms</a:t>
          </a:r>
          <a:endParaRPr lang="lt-LT" sz="2200" kern="1200" dirty="0"/>
        </a:p>
      </dsp:txBody>
      <dsp:txXfrm>
        <a:off x="2861892" y="2217499"/>
        <a:ext cx="2598742" cy="1559245"/>
      </dsp:txXfrm>
    </dsp:sp>
    <dsp:sp modelId="{A905C30E-D0AD-466F-AA33-DBAA960E98D7}">
      <dsp:nvSpPr>
        <dsp:cNvPr id="0" name=""/>
        <dsp:cNvSpPr/>
      </dsp:nvSpPr>
      <dsp:spPr>
        <a:xfrm>
          <a:off x="5720510" y="2217499"/>
          <a:ext cx="2598742" cy="1559245"/>
        </a:xfrm>
        <a:prstGeom prst="rect">
          <a:avLst/>
        </a:prstGeom>
        <a:solidFill>
          <a:srgbClr val="8ACDC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2200" kern="1200" dirty="0" err="1">
              <a:latin typeface="Arial" panose="020B0604020202020204" pitchFamily="34" charset="0"/>
              <a:cs typeface="Arial" panose="020B0604020202020204" pitchFamily="34" charset="0"/>
            </a:rPr>
            <a:t>T</a:t>
          </a:r>
          <a:r>
            <a:rPr lang="en-US" sz="2200" b="0" i="0" kern="1200" dirty="0" err="1">
              <a:effectLst/>
              <a:latin typeface="Arial" panose="020B0604020202020204" pitchFamily="34" charset="0"/>
              <a:cs typeface="Arial" panose="020B0604020202020204" pitchFamily="34" charset="0"/>
            </a:rPr>
            <a:t>alent</a:t>
          </a:r>
          <a:r>
            <a:rPr lang="en-US" sz="220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 Intelligence and Skills Tech platforms</a:t>
          </a:r>
          <a:endParaRPr lang="lt-LT" sz="2200" kern="1200" dirty="0"/>
        </a:p>
      </dsp:txBody>
      <dsp:txXfrm>
        <a:off x="5720510" y="2217499"/>
        <a:ext cx="2598742" cy="1559245"/>
      </dsp:txXfrm>
    </dsp:sp>
    <dsp:sp modelId="{6E52CAE4-574B-4035-80AE-3B52872B25E0}">
      <dsp:nvSpPr>
        <dsp:cNvPr id="0" name=""/>
        <dsp:cNvSpPr/>
      </dsp:nvSpPr>
      <dsp:spPr>
        <a:xfrm>
          <a:off x="8579127" y="2217499"/>
          <a:ext cx="2598742" cy="155924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Pay Equity tools</a:t>
          </a:r>
          <a:endParaRPr lang="lt-LT" sz="2200" kern="1200" dirty="0"/>
        </a:p>
      </dsp:txBody>
      <dsp:txXfrm>
        <a:off x="8579127" y="2217499"/>
        <a:ext cx="2598742" cy="155924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F1858DC-A6F9-406E-9091-ED7A1CCCBF9F}">
      <dsp:nvSpPr>
        <dsp:cNvPr id="0" name=""/>
        <dsp:cNvSpPr/>
      </dsp:nvSpPr>
      <dsp:spPr>
        <a:xfrm>
          <a:off x="3250" y="526391"/>
          <a:ext cx="2578576" cy="154714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2400" kern="1200" dirty="0"/>
            <a:t>Jaukintis technologijas</a:t>
          </a:r>
        </a:p>
      </dsp:txBody>
      <dsp:txXfrm>
        <a:off x="3250" y="526391"/>
        <a:ext cx="2578576" cy="1547145"/>
      </dsp:txXfrm>
    </dsp:sp>
    <dsp:sp modelId="{F18D4B95-78F8-4BCF-A3F7-19F057AEDBF8}">
      <dsp:nvSpPr>
        <dsp:cNvPr id="0" name=""/>
        <dsp:cNvSpPr/>
      </dsp:nvSpPr>
      <dsp:spPr>
        <a:xfrm>
          <a:off x="2839684" y="526391"/>
          <a:ext cx="2578576" cy="1547145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2400" kern="1200" dirty="0"/>
            <a:t>Investuoti į vadovų ugdymą – jie nukreips darbuotojus</a:t>
          </a:r>
        </a:p>
      </dsp:txBody>
      <dsp:txXfrm>
        <a:off x="2839684" y="526391"/>
        <a:ext cx="2578576" cy="1547145"/>
      </dsp:txXfrm>
    </dsp:sp>
    <dsp:sp modelId="{395A9CFA-1E85-459E-9EE1-C893CB24D92E}">
      <dsp:nvSpPr>
        <dsp:cNvPr id="0" name=""/>
        <dsp:cNvSpPr/>
      </dsp:nvSpPr>
      <dsp:spPr>
        <a:xfrm>
          <a:off x="5676118" y="526391"/>
          <a:ext cx="2578576" cy="1547145"/>
        </a:xfrm>
        <a:prstGeom prst="rect">
          <a:avLst/>
        </a:prstGeom>
        <a:solidFill>
          <a:schemeClr val="accent4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2400" kern="1200" dirty="0" err="1"/>
            <a:t>Upskill</a:t>
          </a:r>
          <a:r>
            <a:rPr lang="lt-LT" sz="2400" kern="1200" dirty="0"/>
            <a:t> programos / individualios veiklos</a:t>
          </a:r>
        </a:p>
      </dsp:txBody>
      <dsp:txXfrm>
        <a:off x="5676118" y="526391"/>
        <a:ext cx="2578576" cy="1547145"/>
      </dsp:txXfrm>
    </dsp:sp>
    <dsp:sp modelId="{DC06EB2B-A8D8-4DC0-AF91-3D53F1D8BF05}">
      <dsp:nvSpPr>
        <dsp:cNvPr id="0" name=""/>
        <dsp:cNvSpPr/>
      </dsp:nvSpPr>
      <dsp:spPr>
        <a:xfrm>
          <a:off x="8512553" y="526391"/>
          <a:ext cx="2578576" cy="1547145"/>
        </a:xfrm>
        <a:prstGeom prst="rect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2400" kern="1200" dirty="0"/>
            <a:t>Psichikos sveikatos klausimai</a:t>
          </a:r>
        </a:p>
      </dsp:txBody>
      <dsp:txXfrm>
        <a:off x="8512553" y="526391"/>
        <a:ext cx="2578576" cy="1547145"/>
      </dsp:txXfrm>
    </dsp:sp>
    <dsp:sp modelId="{47453F4F-879C-47BC-8E03-580731BCCABA}">
      <dsp:nvSpPr>
        <dsp:cNvPr id="0" name=""/>
        <dsp:cNvSpPr/>
      </dsp:nvSpPr>
      <dsp:spPr>
        <a:xfrm>
          <a:off x="3250" y="2331395"/>
          <a:ext cx="2578576" cy="1547145"/>
        </a:xfrm>
        <a:prstGeom prst="rect">
          <a:avLst/>
        </a:prstGeom>
        <a:solidFill>
          <a:schemeClr val="accent4">
            <a:lumMod val="7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2400" kern="1200" dirty="0"/>
            <a:t>Smalsumas atrasti naujoves, net jeigu ir dabar jų nenusipirksi</a:t>
          </a:r>
        </a:p>
      </dsp:txBody>
      <dsp:txXfrm>
        <a:off x="3250" y="2331395"/>
        <a:ext cx="2578576" cy="1547145"/>
      </dsp:txXfrm>
    </dsp:sp>
    <dsp:sp modelId="{3D5084C9-8FA2-4811-ABE9-78DEB9B94F61}">
      <dsp:nvSpPr>
        <dsp:cNvPr id="0" name=""/>
        <dsp:cNvSpPr/>
      </dsp:nvSpPr>
      <dsp:spPr>
        <a:xfrm>
          <a:off x="2839684" y="2331395"/>
          <a:ext cx="2578576" cy="1547145"/>
        </a:xfrm>
        <a:prstGeom prst="rect">
          <a:avLst/>
        </a:prstGeom>
        <a:solidFill>
          <a:schemeClr val="accent5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2400" kern="1200" dirty="0"/>
            <a:t>Procesų kūrimas, įtraukiant dialogą</a:t>
          </a:r>
        </a:p>
      </dsp:txBody>
      <dsp:txXfrm>
        <a:off x="2839684" y="2331395"/>
        <a:ext cx="2578576" cy="1547145"/>
      </dsp:txXfrm>
    </dsp:sp>
    <dsp:sp modelId="{A905C30E-D0AD-466F-AA33-DBAA960E98D7}">
      <dsp:nvSpPr>
        <dsp:cNvPr id="0" name=""/>
        <dsp:cNvSpPr/>
      </dsp:nvSpPr>
      <dsp:spPr>
        <a:xfrm>
          <a:off x="5676118" y="2331395"/>
          <a:ext cx="2578576" cy="1547145"/>
        </a:xfrm>
        <a:prstGeom prst="rect">
          <a:avLst/>
        </a:prstGeom>
        <a:solidFill>
          <a:srgbClr val="8ACDC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2400" kern="1200" dirty="0"/>
            <a:t>Vidinės karjeros erdvės</a:t>
          </a:r>
        </a:p>
      </dsp:txBody>
      <dsp:txXfrm>
        <a:off x="5676118" y="2331395"/>
        <a:ext cx="2578576" cy="1547145"/>
      </dsp:txXfrm>
    </dsp:sp>
    <dsp:sp modelId="{6E52CAE4-574B-4035-80AE-3B52872B25E0}">
      <dsp:nvSpPr>
        <dsp:cNvPr id="0" name=""/>
        <dsp:cNvSpPr/>
      </dsp:nvSpPr>
      <dsp:spPr>
        <a:xfrm>
          <a:off x="8512553" y="2331395"/>
          <a:ext cx="2578576" cy="154714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lt-LT" sz="2400" kern="1200" dirty="0"/>
            <a:t>Darbuotojų augimo mąstysenos ugdymas</a:t>
          </a:r>
        </a:p>
      </dsp:txBody>
      <dsp:txXfrm>
        <a:off x="8512553" y="2331395"/>
        <a:ext cx="2578576" cy="15471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8">
            <a:extLst>
              <a:ext uri="{FF2B5EF4-FFF2-40B4-BE49-F238E27FC236}">
                <a16:creationId xmlns:a16="http://schemas.microsoft.com/office/drawing/2014/main" id="{2A7650B3-11A8-4112-AACF-02286E536B6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8752305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681EF29B-F0DE-4A5D-971E-F0D2D074F34E}" type="datetime4">
              <a:rPr lang="en-GB" smtClean="0"/>
              <a:t>05 September 2023</a:t>
            </a:fld>
            <a:endParaRPr lang="en-GB" sz="800" dirty="0"/>
          </a:p>
        </p:txBody>
      </p:sp>
      <p:sp>
        <p:nvSpPr>
          <p:cNvPr id="11" name="Slide Number Placeholder 9">
            <a:extLst>
              <a:ext uri="{FF2B5EF4-FFF2-40B4-BE49-F238E27FC236}">
                <a16:creationId xmlns:a16="http://schemas.microsoft.com/office/drawing/2014/main" id="{707587DC-3356-4DEF-AB7B-98460ED013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760535" y="8570490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 dirty="0"/>
          </a:p>
        </p:txBody>
      </p:sp>
      <p:sp>
        <p:nvSpPr>
          <p:cNvPr id="12" name="Footer Placeholder 10">
            <a:extLst>
              <a:ext uri="{FF2B5EF4-FFF2-40B4-BE49-F238E27FC236}">
                <a16:creationId xmlns:a16="http://schemas.microsoft.com/office/drawing/2014/main" id="{303B5240-CABE-47D7-B1F4-A5E13FBC77F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46366" y="8752305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sp>
        <p:nvSpPr>
          <p:cNvPr id="13" name="Header Placeholder 12">
            <a:extLst>
              <a:ext uri="{FF2B5EF4-FFF2-40B4-BE49-F238E27FC236}">
                <a16:creationId xmlns:a16="http://schemas.microsoft.com/office/drawing/2014/main" id="{12B1FB85-7E87-4737-B2C7-7FFF0CFE04F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46366" y="8570490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sp>
        <p:nvSpPr>
          <p:cNvPr id="14" name="textruta 11">
            <a:extLst>
              <a:ext uri="{FF2B5EF4-FFF2-40B4-BE49-F238E27FC236}">
                <a16:creationId xmlns:a16="http://schemas.microsoft.com/office/drawing/2014/main" id="{F61ED93F-1EB0-477B-8B28-53978E615B6F}"/>
              </a:ext>
            </a:extLst>
          </p:cNvPr>
          <p:cNvSpPr txBox="1"/>
          <p:nvPr/>
        </p:nvSpPr>
        <p:spPr>
          <a:xfrm>
            <a:off x="420543" y="8915719"/>
            <a:ext cx="736954" cy="111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800" noProof="1">
                <a:solidFill>
                  <a:schemeClr val="tx1"/>
                </a:solidFill>
                <a:latin typeface="+mn-lt"/>
                <a:cs typeface="Arial" pitchFamily="34" charset="0"/>
              </a:rPr>
              <a:t>© Swedbank</a:t>
            </a:r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4" name="Date Placeholder 8">
            <a:extLst>
              <a:ext uri="{FF2B5EF4-FFF2-40B4-BE49-F238E27FC236}">
                <a16:creationId xmlns:a16="http://schemas.microsoft.com/office/drawing/2014/main" id="{E73B94CF-D2F9-40C2-A818-76A57704DF6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8752305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681EF29B-F0DE-4A5D-971E-F0D2D074F34E}" type="datetime4">
              <a:rPr lang="en-GB" smtClean="0"/>
              <a:t>05 September 2023</a:t>
            </a:fld>
            <a:endParaRPr lang="en-GB" sz="800" dirty="0"/>
          </a:p>
        </p:txBody>
      </p:sp>
      <p:sp>
        <p:nvSpPr>
          <p:cNvPr id="15" name="Slide Number Placeholder 9">
            <a:extLst>
              <a:ext uri="{FF2B5EF4-FFF2-40B4-BE49-F238E27FC236}">
                <a16:creationId xmlns:a16="http://schemas.microsoft.com/office/drawing/2014/main" id="{0B7B9ED6-D2AD-4170-AE2B-50B25C3A1D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760535" y="8570490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/>
          </a:p>
        </p:txBody>
      </p:sp>
      <p:sp>
        <p:nvSpPr>
          <p:cNvPr id="16" name="Footer Placeholder 10">
            <a:extLst>
              <a:ext uri="{FF2B5EF4-FFF2-40B4-BE49-F238E27FC236}">
                <a16:creationId xmlns:a16="http://schemas.microsoft.com/office/drawing/2014/main" id="{FEAC6656-EDA4-4FE4-AC5E-BDEA6032D80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53656" y="8752305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/>
          </a:p>
        </p:txBody>
      </p:sp>
      <p:sp>
        <p:nvSpPr>
          <p:cNvPr id="17" name="Header Placeholder 12">
            <a:extLst>
              <a:ext uri="{FF2B5EF4-FFF2-40B4-BE49-F238E27FC236}">
                <a16:creationId xmlns:a16="http://schemas.microsoft.com/office/drawing/2014/main" id="{C3B67D38-CAF9-4190-9AA4-F9DACB515BF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53656" y="8570490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F2607-742E-4D0B-AC3E-2B430C7CC512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8283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F2607-742E-4D0B-AC3E-2B430C7CC512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5914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orange background">
    <p:bg>
      <p:bgPr>
        <a:solidFill>
          <a:srgbClr val="FF5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FFD127A7-962D-42AA-95EE-BE7697DE2E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638" y="2333233"/>
            <a:ext cx="10623550" cy="1861077"/>
          </a:xfrm>
        </p:spPr>
        <p:txBody>
          <a:bodyPr anchor="ctr" anchorCtr="0"/>
          <a:lstStyle>
            <a:lvl1pPr algn="ctr">
              <a:lnSpc>
                <a:spcPct val="90000"/>
              </a:lnSpc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 on </a:t>
            </a:r>
            <a:br>
              <a:rPr lang="en-US" dirty="0"/>
            </a:br>
            <a:r>
              <a:rPr lang="en-US" dirty="0"/>
              <a:t>max two rows</a:t>
            </a:r>
            <a:endParaRPr lang="en-GB" dirty="0"/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D4130A02-9CAF-430B-94BA-0E080566F3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20913" y="4522577"/>
            <a:ext cx="7745412" cy="7200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21600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D85C6594-A61F-4F9B-8E7A-CB490490C7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8708" y="277629"/>
            <a:ext cx="2851340" cy="612378"/>
          </a:xfrm>
          <a:prstGeom prst="rect">
            <a:avLst/>
          </a:prstGeom>
        </p:spPr>
      </p:pic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image" descr="{&quot;templafy&quot;:{&quot;type&quot;:&quot;image&quot;,&quot;binding&quot;:&quot;Form.InformationClasses.BoxfrontPP&quot;,&quot;inheritDimensions&quot;:&quot;inheritNone&quot;,&quot;width&quot;:&quot;&quot;,&quot;height&quot;:&quot;0.98 cm&quot;,&quot;visibility&quot;:{&quot;action&quot;:&quot;hide&quot;,&quot;compareValue&quot;:&quot;Confidential&quot;,&quot;binding&quot;:&quot;Form.InformationClasses.Term&quot;,&quot;operator&quot;:&quot;notEquals&quot;}}}" title="Form.InformationClasses.BoxfrontPP">
            <a:extLst>
              <a:ext uri="{FF2B5EF4-FFF2-40B4-BE49-F238E27FC236}">
                <a16:creationId xmlns:a16="http://schemas.microsoft.com/office/drawing/2014/main" id="{819F18DF-01B7-4A48-9F83-83B4434815B3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chemeClr val="bg2"/>
              </a:solidFill>
            </a:endParaRPr>
          </a:p>
        </p:txBody>
      </p:sp>
      <p:sp>
        <p:nvSpPr>
          <p:cNvPr id="15" name="text" descr="{&quot;templafy&quot;:{&quot;type&quot;:&quot;text&quot;,&quot;binding&quot;:&quot;Form.InformationClasses.TermfrontPP&quot;}}" title="Form.InformationClasses.TermfrontPP">
            <a:extLst>
              <a:ext uri="{FF2B5EF4-FFF2-40B4-BE49-F238E27FC236}">
                <a16:creationId xmlns:a16="http://schemas.microsoft.com/office/drawing/2014/main" id="{5263BDEB-09FC-4971-8362-02BA82D5FB3D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rgbClr val="FF5F00"/>
              </a:solidFill>
              <a:latin typeface="Swedbank Headline Bold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83142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hapter, orange box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6154" cy="6858000"/>
          </a:xfrm>
          <a:noFill/>
        </p:spPr>
        <p:txBody>
          <a:bodyPr tIns="36000"/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an image: Click here, insert image via Templafy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0701E18-0200-4F32-AFFB-E0C8B39257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618422" y="2041188"/>
            <a:ext cx="8955156" cy="2775624"/>
          </a:xfrm>
          <a:solidFill>
            <a:srgbClr val="FF5E00"/>
          </a:solidFill>
        </p:spPr>
        <p:txBody>
          <a:bodyPr lIns="540000" tIns="540000" rIns="540000" bIns="540000" anchor="ctr" anchorCtr="0">
            <a:spAutoFit/>
          </a:bodyPr>
          <a:lstStyle>
            <a:lvl1pPr algn="ctr">
              <a:lnSpc>
                <a:spcPct val="90000"/>
              </a:lnSpc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chapter heading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7846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hapter, oak shape &amp; image">
    <p:bg>
      <p:bgPr>
        <a:solidFill>
          <a:srgbClr val="FF5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AA22785-9C30-4059-8314-892CF398437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58000"/>
          </a:xfrm>
          <a:custGeom>
            <a:avLst/>
            <a:gdLst>
              <a:gd name="connsiteX0" fmla="*/ 0 w 12193200"/>
              <a:gd name="connsiteY0" fmla="*/ 0 h 6858000"/>
              <a:gd name="connsiteX1" fmla="*/ 12193200 w 12193200"/>
              <a:gd name="connsiteY1" fmla="*/ 0 h 6858000"/>
              <a:gd name="connsiteX2" fmla="*/ 12193200 w 12193200"/>
              <a:gd name="connsiteY2" fmla="*/ 1472513 h 6858000"/>
              <a:gd name="connsiteX3" fmla="*/ 10408845 w 12193200"/>
              <a:gd name="connsiteY3" fmla="*/ 1765643 h 6858000"/>
              <a:gd name="connsiteX4" fmla="*/ 9353613 w 12193200"/>
              <a:gd name="connsiteY4" fmla="*/ 1368167 h 6858000"/>
              <a:gd name="connsiteX5" fmla="*/ 7641347 w 12193200"/>
              <a:gd name="connsiteY5" fmla="*/ 2113692 h 6858000"/>
              <a:gd name="connsiteX6" fmla="*/ 6964405 w 12193200"/>
              <a:gd name="connsiteY6" fmla="*/ 2799492 h 6858000"/>
              <a:gd name="connsiteX7" fmla="*/ 6019020 w 12193200"/>
              <a:gd name="connsiteY7" fmla="*/ 2829011 h 6858000"/>
              <a:gd name="connsiteX8" fmla="*/ 5072261 w 12193200"/>
              <a:gd name="connsiteY8" fmla="*/ 4250724 h 6858000"/>
              <a:gd name="connsiteX9" fmla="*/ 3491128 w 12193200"/>
              <a:gd name="connsiteY9" fmla="*/ 4727146 h 6858000"/>
              <a:gd name="connsiteX10" fmla="*/ 2777798 w 12193200"/>
              <a:gd name="connsiteY10" fmla="*/ 5878384 h 6858000"/>
              <a:gd name="connsiteX11" fmla="*/ 2314374 w 12193200"/>
              <a:gd name="connsiteY11" fmla="*/ 5864654 h 6858000"/>
              <a:gd name="connsiteX12" fmla="*/ 1700595 w 12193200"/>
              <a:gd name="connsiteY12" fmla="*/ 5570152 h 6858000"/>
              <a:gd name="connsiteX13" fmla="*/ 737360 w 12193200"/>
              <a:gd name="connsiteY13" fmla="*/ 6560752 h 6858000"/>
              <a:gd name="connsiteX14" fmla="*/ 0 w 1219320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12193200" y="0"/>
                </a:lnTo>
                <a:lnTo>
                  <a:pt x="12193200" y="1472513"/>
                </a:lnTo>
                <a:cubicBezTo>
                  <a:pt x="10975939" y="1367481"/>
                  <a:pt x="11224473" y="1964038"/>
                  <a:pt x="10408845" y="1765643"/>
                </a:cubicBezTo>
                <a:cubicBezTo>
                  <a:pt x="9864409" y="1633151"/>
                  <a:pt x="10110195" y="1397686"/>
                  <a:pt x="9353613" y="1368167"/>
                </a:cubicBezTo>
                <a:cubicBezTo>
                  <a:pt x="8288081" y="1326292"/>
                  <a:pt x="8756311" y="2163805"/>
                  <a:pt x="7641347" y="2113692"/>
                </a:cubicBezTo>
                <a:cubicBezTo>
                  <a:pt x="7187535" y="2093784"/>
                  <a:pt x="7382517" y="2621005"/>
                  <a:pt x="6964405" y="2799492"/>
                </a:cubicBezTo>
                <a:cubicBezTo>
                  <a:pt x="6656142" y="2931297"/>
                  <a:pt x="6290895" y="2740454"/>
                  <a:pt x="6019020" y="2829011"/>
                </a:cubicBezTo>
                <a:cubicBezTo>
                  <a:pt x="4974085" y="3170194"/>
                  <a:pt x="5589923" y="3870411"/>
                  <a:pt x="5072261" y="4250724"/>
                </a:cubicBezTo>
                <a:cubicBezTo>
                  <a:pt x="4139922" y="4935838"/>
                  <a:pt x="4541555" y="4291227"/>
                  <a:pt x="3491128" y="4727146"/>
                </a:cubicBezTo>
                <a:cubicBezTo>
                  <a:pt x="2988570" y="4935151"/>
                  <a:pt x="2777798" y="5878384"/>
                  <a:pt x="2777798" y="5878384"/>
                </a:cubicBezTo>
                <a:cubicBezTo>
                  <a:pt x="2777798" y="5878384"/>
                  <a:pt x="2370672" y="5957330"/>
                  <a:pt x="2314374" y="5864654"/>
                </a:cubicBezTo>
                <a:cubicBezTo>
                  <a:pt x="2212764" y="5697838"/>
                  <a:pt x="2144108" y="5556422"/>
                  <a:pt x="1700595" y="5570152"/>
                </a:cubicBezTo>
                <a:cubicBezTo>
                  <a:pt x="1275618" y="5583195"/>
                  <a:pt x="1041503" y="6123460"/>
                  <a:pt x="737360" y="6560752"/>
                </a:cubicBezTo>
                <a:cubicBezTo>
                  <a:pt x="628197" y="6716584"/>
                  <a:pt x="221757" y="6621162"/>
                  <a:pt x="0" y="685800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tIns="36000">
            <a:noAutofit/>
          </a:bodyPr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an image: Click here, insert imag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91263" y="4002848"/>
            <a:ext cx="5152901" cy="1329595"/>
          </a:xfrm>
          <a:noFill/>
        </p:spPr>
        <p:txBody>
          <a:bodyPr wrap="square" lIns="0" tIns="0" rIns="0" bIns="0" anchor="ctr" anchorCtr="0">
            <a:spAutoFit/>
          </a:bodyPr>
          <a:lstStyle>
            <a:lvl1pPr algn="l">
              <a:lnSpc>
                <a:spcPct val="90000"/>
              </a:lnSpc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chapter heading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D21585C6-5E47-4744-B88D-E91601F551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1263" y="5581810"/>
            <a:ext cx="5114925" cy="76929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b="0">
                <a:solidFill>
                  <a:schemeClr val="bg1"/>
                </a:solidFill>
              </a:defRPr>
            </a:lvl1pPr>
            <a:lvl2pPr marL="21600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r>
              <a:rPr lang="en-GB" dirty="0"/>
              <a:t>Insert introduction text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4641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message on colour">
    <p:bg>
      <p:bgPr>
        <a:solidFill>
          <a:srgbClr val="FF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9A497D09-A345-4966-AD3C-EA9ECA1C60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82638" y="1763713"/>
            <a:ext cx="10623550" cy="2546858"/>
          </a:xfrm>
          <a:noFill/>
        </p:spPr>
        <p:txBody>
          <a:bodyPr lIns="0" tIns="0" rIns="0" bIns="0" anchor="ctr" anchorCtr="0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6000" b="1" kern="1200" dirty="0">
                <a:solidFill>
                  <a:srgbClr val="FF5F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Add chapter heading or big messag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20914" y="4724087"/>
            <a:ext cx="7745412" cy="854599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sz="24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Insert introduction text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05314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message, textbox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">
            <a:extLst>
              <a:ext uri="{FF2B5EF4-FFF2-40B4-BE49-F238E27FC236}">
                <a16:creationId xmlns:a16="http://schemas.microsoft.com/office/drawing/2014/main" id="{0758CA1E-A7C6-4199-9C43-B3326643056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6154" cy="6858000"/>
          </a:xfrm>
          <a:noFill/>
        </p:spPr>
        <p:txBody>
          <a:bodyPr tIns="36000"/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an image: Click here, insert image via Templafy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438773E-D526-4B9C-A162-7E855E7E8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851524" y="1226343"/>
            <a:ext cx="8488952" cy="4405313"/>
          </a:xfrm>
          <a:solidFill>
            <a:srgbClr val="FF5E00"/>
          </a:solidFill>
        </p:spPr>
        <p:txBody>
          <a:bodyPr lIns="720000" tIns="540000" rIns="720000" bIns="540000"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</a:lstStyle>
          <a:p>
            <a:r>
              <a:rPr lang="en-GB" dirty="0"/>
              <a:t>Click to add a longer </a:t>
            </a:r>
            <a:br>
              <a:rPr lang="en-GB" dirty="0"/>
            </a:br>
            <a:r>
              <a:rPr lang="en-GB" dirty="0"/>
              <a:t>message or a quote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35371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ig message on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">
            <a:extLst>
              <a:ext uri="{FF2B5EF4-FFF2-40B4-BE49-F238E27FC236}">
                <a16:creationId xmlns:a16="http://schemas.microsoft.com/office/drawing/2014/main" id="{7261862A-3A96-4036-9586-FBB7AD1F903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6154" cy="6857999"/>
          </a:xfrm>
          <a:noFill/>
        </p:spPr>
        <p:txBody>
          <a:bodyPr tIns="36000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hange image: Click here, insert image via Templafy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438773E-D526-4B9C-A162-7E855E7E8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1851524" y="1226343"/>
            <a:ext cx="8488952" cy="4405313"/>
          </a:xfrm>
          <a:noFill/>
        </p:spPr>
        <p:txBody>
          <a:bodyPr lIns="0" tIns="0" rIns="0" bIns="0"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</a:lstStyle>
          <a:p>
            <a:r>
              <a:rPr lang="en-GB" dirty="0"/>
              <a:t>Click to add a longer </a:t>
            </a:r>
            <a:br>
              <a:rPr lang="en-GB" dirty="0"/>
            </a:br>
            <a:r>
              <a:rPr lang="en-GB" dirty="0"/>
              <a:t>message or a quot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50525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Content -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224" y="481665"/>
            <a:ext cx="10620375" cy="1052240"/>
          </a:xfrm>
        </p:spPr>
        <p:txBody>
          <a:bodyPr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en-GB" noProof="0" dirty="0"/>
              <a:t>Click to add heading on maximum two row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224" y="1763713"/>
            <a:ext cx="10621963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54529330"/>
      </p:ext>
    </p:extLst>
  </p:cSld>
  <p:clrMapOvr>
    <a:masterClrMapping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Content - one column">
    <p:bg>
      <p:bgPr>
        <a:solidFill>
          <a:srgbClr val="FAEF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224" y="481665"/>
            <a:ext cx="10620375" cy="1052240"/>
          </a:xfrm>
        </p:spPr>
        <p:txBody>
          <a:bodyPr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en-GB" noProof="0" dirty="0"/>
              <a:t>Click to add heading on maximum two row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226" y="1763713"/>
            <a:ext cx="10621962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72929173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Content - one column">
    <p:bg>
      <p:bgPr>
        <a:solidFill>
          <a:srgbClr val="FF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224" y="481665"/>
            <a:ext cx="10620375" cy="1052240"/>
          </a:xfrm>
        </p:spPr>
        <p:txBody>
          <a:bodyPr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en-GB" noProof="0" dirty="0"/>
              <a:t>Click to add heading on maximum two row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226" y="1763713"/>
            <a:ext cx="10621962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88249043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Content - one column">
    <p:bg>
      <p:bgPr>
        <a:solidFill>
          <a:srgbClr val="EBF9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224" y="481665"/>
            <a:ext cx="10620375" cy="1052240"/>
          </a:xfrm>
        </p:spPr>
        <p:txBody>
          <a:bodyPr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en-GB" noProof="0" dirty="0"/>
              <a:t>Click to add heading on maximum two row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226" y="1763713"/>
            <a:ext cx="10621962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77560194"/>
      </p:ext>
    </p:extLst>
  </p:cSld>
  <p:clrMapOvr>
    <a:masterClrMapping/>
  </p:clrMapOvr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-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224" y="481665"/>
            <a:ext cx="10620375" cy="1052240"/>
          </a:xfrm>
        </p:spPr>
        <p:txBody>
          <a:bodyPr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en-GB" noProof="0" dirty="0"/>
              <a:t>Click to add heading on maximum two rows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87399" y="1013791"/>
            <a:ext cx="9178925" cy="516835"/>
          </a:xfrm>
        </p:spPr>
        <p:txBody>
          <a:bodyPr/>
          <a:lstStyle>
            <a:lvl1pPr marL="0" indent="0" algn="l">
              <a:buNone/>
              <a:defRPr sz="240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 heading on maximum one ro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224" y="1763713"/>
            <a:ext cx="10621963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3228779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oak shape A">
    <p:bg>
      <p:bgPr>
        <a:solidFill>
          <a:srgbClr val="FDC9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3">
            <a:extLst>
              <a:ext uri="{FF2B5EF4-FFF2-40B4-BE49-F238E27FC236}">
                <a16:creationId xmlns:a16="http://schemas.microsoft.com/office/drawing/2014/main" id="{58D7241C-1382-42A0-91AA-EBCB856DB4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Logo">
            <a:extLst>
              <a:ext uri="{FF2B5EF4-FFF2-40B4-BE49-F238E27FC236}">
                <a16:creationId xmlns:a16="http://schemas.microsoft.com/office/drawing/2014/main" id="{D85C6594-A61F-4F9B-8E7A-CB490490C7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8708" y="277629"/>
            <a:ext cx="2851340" cy="612378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3EF108A4-48E9-4320-B99B-17F12B02E3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638" y="2333233"/>
            <a:ext cx="10623550" cy="1861077"/>
          </a:xfrm>
        </p:spPr>
        <p:txBody>
          <a:bodyPr anchor="ctr" anchorCtr="0"/>
          <a:lstStyle>
            <a:lvl1pPr algn="ctr">
              <a:lnSpc>
                <a:spcPct val="90000"/>
              </a:lnSpc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 on </a:t>
            </a:r>
            <a:br>
              <a:rPr lang="en-US" dirty="0"/>
            </a:br>
            <a:r>
              <a:rPr lang="en-US" dirty="0"/>
              <a:t>max two rows</a:t>
            </a:r>
            <a:endParaRPr lang="en-GB" dirty="0"/>
          </a:p>
        </p:txBody>
      </p:sp>
      <p:sp>
        <p:nvSpPr>
          <p:cNvPr id="17" name="Text Placeholder 20">
            <a:extLst>
              <a:ext uri="{FF2B5EF4-FFF2-40B4-BE49-F238E27FC236}">
                <a16:creationId xmlns:a16="http://schemas.microsoft.com/office/drawing/2014/main" id="{D82221A3-F8B6-4734-B404-8D27C11EB4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20913" y="4522577"/>
            <a:ext cx="7745412" cy="7200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21600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image" descr="{&quot;templafy&quot;:{&quot;type&quot;:&quot;image&quot;,&quot;binding&quot;:&quot;Form.InformationClasses.BoxfrontPP&quot;,&quot;inheritDimensions&quot;:&quot;inheritNone&quot;,&quot;width&quot;:&quot;&quot;,&quot;height&quot;:&quot;0.98 cm&quot;,&quot;visibility&quot;:{&quot;action&quot;:&quot;hide&quot;,&quot;compareValue&quot;:&quot;Confidential&quot;,&quot;binding&quot;:&quot;Form.InformationClasses.Term&quot;,&quot;operator&quot;:&quot;notEquals&quot;}}}" title="Form.InformationClasses.BoxfrontPP">
            <a:extLst>
              <a:ext uri="{FF2B5EF4-FFF2-40B4-BE49-F238E27FC236}">
                <a16:creationId xmlns:a16="http://schemas.microsoft.com/office/drawing/2014/main" id="{3545A763-50D9-4458-AF8B-575509495A10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chemeClr val="bg2"/>
              </a:solidFill>
            </a:endParaRPr>
          </a:p>
        </p:txBody>
      </p:sp>
      <p:sp>
        <p:nvSpPr>
          <p:cNvPr id="14" name="text" descr="{&quot;templafy&quot;:{&quot;type&quot;:&quot;text&quot;,&quot;binding&quot;:&quot;Form.InformationClasses.TermfrontPP&quot;}}" title="Form.InformationClasses.TermfrontPP">
            <a:extLst>
              <a:ext uri="{FF2B5EF4-FFF2-40B4-BE49-F238E27FC236}">
                <a16:creationId xmlns:a16="http://schemas.microsoft.com/office/drawing/2014/main" id="{0A286E67-7524-41D2-AF9B-56C28413ECBB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rgbClr val="FF5F00"/>
              </a:solidFill>
              <a:latin typeface="Swedbank Headline Bold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79431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-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>
            <a:extLst>
              <a:ext uri="{FF2B5EF4-FFF2-40B4-BE49-F238E27FC236}">
                <a16:creationId xmlns:a16="http://schemas.microsoft.com/office/drawing/2014/main" id="{40BA2930-8025-4C2C-B4B4-60F0A01ACCC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87399" y="482162"/>
            <a:ext cx="9178925" cy="516835"/>
          </a:xfrm>
        </p:spPr>
        <p:txBody>
          <a:bodyPr/>
          <a:lstStyle>
            <a:lvl1pPr marL="0" indent="0" algn="l">
              <a:buNone/>
              <a:defRPr sz="240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 heading on maximum one row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224" y="998997"/>
            <a:ext cx="10620375" cy="534907"/>
          </a:xfrm>
        </p:spPr>
        <p:txBody>
          <a:bodyPr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en-GB" noProof="0" dirty="0"/>
              <a:t>Click to add heading on maximum one ro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224" y="1763713"/>
            <a:ext cx="10621963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68624680"/>
      </p:ext>
    </p:extLst>
  </p:cSld>
  <p:clrMapOvr>
    <a:masterClrMapping/>
  </p:clrMapOvr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Content 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225" y="1763713"/>
            <a:ext cx="6948487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127999" y="1763713"/>
            <a:ext cx="3276601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60210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Content 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91263" y="1763713"/>
            <a:ext cx="5113338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35176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Content - two columns">
    <p:bg>
      <p:bgPr>
        <a:solidFill>
          <a:srgbClr val="FAEF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91263" y="1763713"/>
            <a:ext cx="5113338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90622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Content - two columns">
    <p:bg>
      <p:bgPr>
        <a:solidFill>
          <a:srgbClr val="FF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91263" y="1763713"/>
            <a:ext cx="5113338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40226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Content - two columns">
    <p:bg>
      <p:bgPr>
        <a:solidFill>
          <a:srgbClr val="EBF9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91263" y="1763713"/>
            <a:ext cx="5113338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89454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- two columns">
    <p:bg>
      <p:bgPr>
        <a:solidFill>
          <a:srgbClr val="FAEF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39EB4BE-1358-4A58-A92F-2C27D7EAB55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85247" y="669602"/>
            <a:ext cx="6507953" cy="6188397"/>
          </a:xfrm>
          <a:custGeom>
            <a:avLst/>
            <a:gdLst>
              <a:gd name="connsiteX0" fmla="*/ 5976385 w 6507953"/>
              <a:gd name="connsiteY0" fmla="*/ 0 h 6188397"/>
              <a:gd name="connsiteX1" fmla="*/ 6507953 w 6507953"/>
              <a:gd name="connsiteY1" fmla="*/ 71964 h 6188397"/>
              <a:gd name="connsiteX2" fmla="*/ 6507953 w 6507953"/>
              <a:gd name="connsiteY2" fmla="*/ 6188397 h 6188397"/>
              <a:gd name="connsiteX3" fmla="*/ 0 w 6507953"/>
              <a:gd name="connsiteY3" fmla="*/ 6188397 h 6188397"/>
              <a:gd name="connsiteX4" fmla="*/ 81396 w 6507953"/>
              <a:gd name="connsiteY4" fmla="*/ 6094197 h 6188397"/>
              <a:gd name="connsiteX5" fmla="*/ 450649 w 6507953"/>
              <a:gd name="connsiteY5" fmla="*/ 4839242 h 6188397"/>
              <a:gd name="connsiteX6" fmla="*/ 944112 w 6507953"/>
              <a:gd name="connsiteY6" fmla="*/ 2677453 h 6188397"/>
              <a:gd name="connsiteX7" fmla="*/ 2415927 w 6507953"/>
              <a:gd name="connsiteY7" fmla="*/ 1921114 h 6188397"/>
              <a:gd name="connsiteX8" fmla="*/ 3628626 w 6507953"/>
              <a:gd name="connsiteY8" fmla="*/ 557128 h 6188397"/>
              <a:gd name="connsiteX9" fmla="*/ 4675091 w 6507953"/>
              <a:gd name="connsiteY9" fmla="*/ 530439 h 6188397"/>
              <a:gd name="connsiteX10" fmla="*/ 5976385 w 6507953"/>
              <a:gd name="connsiteY10" fmla="*/ 0 h 6188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507953" h="6188397">
                <a:moveTo>
                  <a:pt x="5976385" y="0"/>
                </a:moveTo>
                <a:cubicBezTo>
                  <a:pt x="6173580" y="0"/>
                  <a:pt x="6347435" y="30501"/>
                  <a:pt x="6507953" y="71964"/>
                </a:cubicBezTo>
                <a:lnTo>
                  <a:pt x="6507953" y="6188397"/>
                </a:lnTo>
                <a:lnTo>
                  <a:pt x="0" y="6188397"/>
                </a:lnTo>
                <a:lnTo>
                  <a:pt x="81396" y="6094197"/>
                </a:lnTo>
                <a:cubicBezTo>
                  <a:pt x="451738" y="5616923"/>
                  <a:pt x="27324" y="5360656"/>
                  <a:pt x="450649" y="4839242"/>
                </a:cubicBezTo>
                <a:cubicBezTo>
                  <a:pt x="919344" y="4262098"/>
                  <a:pt x="394444" y="3377557"/>
                  <a:pt x="944112" y="2677453"/>
                </a:cubicBezTo>
                <a:cubicBezTo>
                  <a:pt x="1484254" y="1989742"/>
                  <a:pt x="1470917" y="2519227"/>
                  <a:pt x="2415927" y="1921114"/>
                </a:cubicBezTo>
                <a:cubicBezTo>
                  <a:pt x="3127542" y="1470264"/>
                  <a:pt x="2353530" y="835930"/>
                  <a:pt x="3628626" y="557128"/>
                </a:cubicBezTo>
                <a:cubicBezTo>
                  <a:pt x="4098273" y="454662"/>
                  <a:pt x="4275939" y="634811"/>
                  <a:pt x="4675091" y="530439"/>
                </a:cubicBezTo>
                <a:cubicBezTo>
                  <a:pt x="5240001" y="383174"/>
                  <a:pt x="5359080" y="0"/>
                  <a:pt x="597638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3528000" tIns="1080000" rIns="180000" anchor="t" anchorCtr="0">
            <a:noAutofit/>
          </a:bodyPr>
          <a:lstStyle>
            <a:lvl1pPr marL="0" indent="0" algn="r">
              <a:buNone/>
              <a:defRPr sz="2400"/>
            </a:lvl1pPr>
          </a:lstStyle>
          <a:p>
            <a:r>
              <a:rPr lang="en-GB" dirty="0"/>
              <a:t>Add an image: Click here, insert image via Templafy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84225" y="481665"/>
            <a:ext cx="7860045" cy="105224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 userDrawn="1"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88073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 - two columns">
    <p:bg>
      <p:bgPr>
        <a:solidFill>
          <a:srgbClr val="FF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39EB4BE-1358-4A58-A92F-2C27D7EAB55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85247" y="669602"/>
            <a:ext cx="6507953" cy="6188397"/>
          </a:xfrm>
          <a:custGeom>
            <a:avLst/>
            <a:gdLst>
              <a:gd name="connsiteX0" fmla="*/ 5976385 w 6507953"/>
              <a:gd name="connsiteY0" fmla="*/ 0 h 6188397"/>
              <a:gd name="connsiteX1" fmla="*/ 6507953 w 6507953"/>
              <a:gd name="connsiteY1" fmla="*/ 71964 h 6188397"/>
              <a:gd name="connsiteX2" fmla="*/ 6507953 w 6507953"/>
              <a:gd name="connsiteY2" fmla="*/ 6188397 h 6188397"/>
              <a:gd name="connsiteX3" fmla="*/ 0 w 6507953"/>
              <a:gd name="connsiteY3" fmla="*/ 6188397 h 6188397"/>
              <a:gd name="connsiteX4" fmla="*/ 81396 w 6507953"/>
              <a:gd name="connsiteY4" fmla="*/ 6094197 h 6188397"/>
              <a:gd name="connsiteX5" fmla="*/ 450649 w 6507953"/>
              <a:gd name="connsiteY5" fmla="*/ 4839242 h 6188397"/>
              <a:gd name="connsiteX6" fmla="*/ 944112 w 6507953"/>
              <a:gd name="connsiteY6" fmla="*/ 2677453 h 6188397"/>
              <a:gd name="connsiteX7" fmla="*/ 2415927 w 6507953"/>
              <a:gd name="connsiteY7" fmla="*/ 1921114 h 6188397"/>
              <a:gd name="connsiteX8" fmla="*/ 3628626 w 6507953"/>
              <a:gd name="connsiteY8" fmla="*/ 557128 h 6188397"/>
              <a:gd name="connsiteX9" fmla="*/ 4675091 w 6507953"/>
              <a:gd name="connsiteY9" fmla="*/ 530439 h 6188397"/>
              <a:gd name="connsiteX10" fmla="*/ 5976385 w 6507953"/>
              <a:gd name="connsiteY10" fmla="*/ 0 h 6188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507953" h="6188397">
                <a:moveTo>
                  <a:pt x="5976385" y="0"/>
                </a:moveTo>
                <a:cubicBezTo>
                  <a:pt x="6173580" y="0"/>
                  <a:pt x="6347435" y="30501"/>
                  <a:pt x="6507953" y="71964"/>
                </a:cubicBezTo>
                <a:lnTo>
                  <a:pt x="6507953" y="6188397"/>
                </a:lnTo>
                <a:lnTo>
                  <a:pt x="0" y="6188397"/>
                </a:lnTo>
                <a:lnTo>
                  <a:pt x="81396" y="6094197"/>
                </a:lnTo>
                <a:cubicBezTo>
                  <a:pt x="451738" y="5616923"/>
                  <a:pt x="27324" y="5360656"/>
                  <a:pt x="450649" y="4839242"/>
                </a:cubicBezTo>
                <a:cubicBezTo>
                  <a:pt x="919344" y="4262098"/>
                  <a:pt x="394444" y="3377557"/>
                  <a:pt x="944112" y="2677453"/>
                </a:cubicBezTo>
                <a:cubicBezTo>
                  <a:pt x="1484254" y="1989742"/>
                  <a:pt x="1470917" y="2519227"/>
                  <a:pt x="2415927" y="1921114"/>
                </a:cubicBezTo>
                <a:cubicBezTo>
                  <a:pt x="3127542" y="1470264"/>
                  <a:pt x="2353530" y="835930"/>
                  <a:pt x="3628626" y="557128"/>
                </a:cubicBezTo>
                <a:cubicBezTo>
                  <a:pt x="4098273" y="454662"/>
                  <a:pt x="4275939" y="634811"/>
                  <a:pt x="4675091" y="530439"/>
                </a:cubicBezTo>
                <a:cubicBezTo>
                  <a:pt x="5240001" y="383174"/>
                  <a:pt x="5359080" y="0"/>
                  <a:pt x="597638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3528000" tIns="1080000" rIns="180000" anchor="t" anchorCtr="0">
            <a:noAutofit/>
          </a:bodyPr>
          <a:lstStyle>
            <a:lvl1pPr marL="0" indent="0" algn="r">
              <a:buNone/>
              <a:defRPr sz="2400"/>
            </a:lvl1pPr>
          </a:lstStyle>
          <a:p>
            <a:r>
              <a:rPr lang="en-GB" dirty="0"/>
              <a:t>Add an image: Click here, insert image via Templafy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84225" y="481665"/>
            <a:ext cx="7860045" cy="105224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 userDrawn="1"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30881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 - two columns">
    <p:bg>
      <p:bgPr>
        <a:solidFill>
          <a:srgbClr val="EBF9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39EB4BE-1358-4A58-A92F-2C27D7EAB55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85247" y="669602"/>
            <a:ext cx="6507953" cy="6188397"/>
          </a:xfrm>
          <a:custGeom>
            <a:avLst/>
            <a:gdLst>
              <a:gd name="connsiteX0" fmla="*/ 5976385 w 6507953"/>
              <a:gd name="connsiteY0" fmla="*/ 0 h 6188397"/>
              <a:gd name="connsiteX1" fmla="*/ 6507953 w 6507953"/>
              <a:gd name="connsiteY1" fmla="*/ 71964 h 6188397"/>
              <a:gd name="connsiteX2" fmla="*/ 6507953 w 6507953"/>
              <a:gd name="connsiteY2" fmla="*/ 6188397 h 6188397"/>
              <a:gd name="connsiteX3" fmla="*/ 0 w 6507953"/>
              <a:gd name="connsiteY3" fmla="*/ 6188397 h 6188397"/>
              <a:gd name="connsiteX4" fmla="*/ 81396 w 6507953"/>
              <a:gd name="connsiteY4" fmla="*/ 6094197 h 6188397"/>
              <a:gd name="connsiteX5" fmla="*/ 450649 w 6507953"/>
              <a:gd name="connsiteY5" fmla="*/ 4839242 h 6188397"/>
              <a:gd name="connsiteX6" fmla="*/ 944112 w 6507953"/>
              <a:gd name="connsiteY6" fmla="*/ 2677453 h 6188397"/>
              <a:gd name="connsiteX7" fmla="*/ 2415927 w 6507953"/>
              <a:gd name="connsiteY7" fmla="*/ 1921114 h 6188397"/>
              <a:gd name="connsiteX8" fmla="*/ 3628626 w 6507953"/>
              <a:gd name="connsiteY8" fmla="*/ 557128 h 6188397"/>
              <a:gd name="connsiteX9" fmla="*/ 4675091 w 6507953"/>
              <a:gd name="connsiteY9" fmla="*/ 530439 h 6188397"/>
              <a:gd name="connsiteX10" fmla="*/ 5976385 w 6507953"/>
              <a:gd name="connsiteY10" fmla="*/ 0 h 6188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507953" h="6188397">
                <a:moveTo>
                  <a:pt x="5976385" y="0"/>
                </a:moveTo>
                <a:cubicBezTo>
                  <a:pt x="6173580" y="0"/>
                  <a:pt x="6347435" y="30501"/>
                  <a:pt x="6507953" y="71964"/>
                </a:cubicBezTo>
                <a:lnTo>
                  <a:pt x="6507953" y="6188397"/>
                </a:lnTo>
                <a:lnTo>
                  <a:pt x="0" y="6188397"/>
                </a:lnTo>
                <a:lnTo>
                  <a:pt x="81396" y="6094197"/>
                </a:lnTo>
                <a:cubicBezTo>
                  <a:pt x="451738" y="5616923"/>
                  <a:pt x="27324" y="5360656"/>
                  <a:pt x="450649" y="4839242"/>
                </a:cubicBezTo>
                <a:cubicBezTo>
                  <a:pt x="919344" y="4262098"/>
                  <a:pt x="394444" y="3377557"/>
                  <a:pt x="944112" y="2677453"/>
                </a:cubicBezTo>
                <a:cubicBezTo>
                  <a:pt x="1484254" y="1989742"/>
                  <a:pt x="1470917" y="2519227"/>
                  <a:pt x="2415927" y="1921114"/>
                </a:cubicBezTo>
                <a:cubicBezTo>
                  <a:pt x="3127542" y="1470264"/>
                  <a:pt x="2353530" y="835930"/>
                  <a:pt x="3628626" y="557128"/>
                </a:cubicBezTo>
                <a:cubicBezTo>
                  <a:pt x="4098273" y="454662"/>
                  <a:pt x="4275939" y="634811"/>
                  <a:pt x="4675091" y="530439"/>
                </a:cubicBezTo>
                <a:cubicBezTo>
                  <a:pt x="5240001" y="383174"/>
                  <a:pt x="5359080" y="0"/>
                  <a:pt x="597638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3528000" tIns="1080000" rIns="180000" anchor="t" anchorCtr="0">
            <a:noAutofit/>
          </a:bodyPr>
          <a:lstStyle>
            <a:lvl1pPr marL="0" indent="0" algn="r">
              <a:buNone/>
              <a:defRPr sz="2400"/>
            </a:lvl1pPr>
          </a:lstStyle>
          <a:p>
            <a:r>
              <a:rPr lang="en-GB" dirty="0"/>
              <a:t>Add an image: Click here, insert image via Templafy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84225" y="481665"/>
            <a:ext cx="7860045" cy="105224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 userDrawn="1"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24802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_Content - two columns">
    <p:bg>
      <p:bgPr>
        <a:solidFill>
          <a:srgbClr val="FAEF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56D3E2AE-17C5-4051-8CFA-81401980D7B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91262" y="0"/>
            <a:ext cx="5900737" cy="6857999"/>
          </a:xfrm>
          <a:solidFill>
            <a:schemeClr val="bg1"/>
          </a:solidFill>
        </p:spPr>
        <p:txBody>
          <a:bodyPr lIns="1080000" tIns="36000" rIns="1080000" anchor="t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200"/>
            </a:lvl1pPr>
          </a:lstStyle>
          <a:p>
            <a:r>
              <a:rPr lang="en-GB" dirty="0"/>
              <a:t>Add an image: Click here, insert image via Templaf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GB" dirty="0"/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225" y="481665"/>
            <a:ext cx="5111751" cy="105224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71286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oak shape B">
    <p:bg>
      <p:bgPr>
        <a:solidFill>
          <a:srgbClr val="F8DB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3">
            <a:extLst>
              <a:ext uri="{FF2B5EF4-FFF2-40B4-BE49-F238E27FC236}">
                <a16:creationId xmlns:a16="http://schemas.microsoft.com/office/drawing/2014/main" id="{58D7241C-1382-42A0-91AA-EBCB856DB4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Logo">
            <a:extLst>
              <a:ext uri="{FF2B5EF4-FFF2-40B4-BE49-F238E27FC236}">
                <a16:creationId xmlns:a16="http://schemas.microsoft.com/office/drawing/2014/main" id="{D85C6594-A61F-4F9B-8E7A-CB490490C7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8708" y="277629"/>
            <a:ext cx="2851340" cy="612378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3EF108A4-48E9-4320-B99B-17F12B02E3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638" y="2333233"/>
            <a:ext cx="10623550" cy="1861077"/>
          </a:xfrm>
        </p:spPr>
        <p:txBody>
          <a:bodyPr anchor="ctr" anchorCtr="0"/>
          <a:lstStyle>
            <a:lvl1pPr algn="ctr">
              <a:lnSpc>
                <a:spcPct val="90000"/>
              </a:lnSpc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 on </a:t>
            </a:r>
            <a:br>
              <a:rPr lang="en-US" dirty="0"/>
            </a:br>
            <a:r>
              <a:rPr lang="en-US" dirty="0"/>
              <a:t>max two rows</a:t>
            </a:r>
            <a:endParaRPr lang="en-GB" dirty="0"/>
          </a:p>
        </p:txBody>
      </p:sp>
      <p:sp>
        <p:nvSpPr>
          <p:cNvPr id="17" name="Text Placeholder 20">
            <a:extLst>
              <a:ext uri="{FF2B5EF4-FFF2-40B4-BE49-F238E27FC236}">
                <a16:creationId xmlns:a16="http://schemas.microsoft.com/office/drawing/2014/main" id="{D82221A3-F8B6-4734-B404-8D27C11EB4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20913" y="4522577"/>
            <a:ext cx="7745412" cy="7200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21600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image" descr="{&quot;templafy&quot;:{&quot;type&quot;:&quot;image&quot;,&quot;binding&quot;:&quot;Form.InformationClasses.BoxfrontPP&quot;,&quot;inheritDimensions&quot;:&quot;inheritNone&quot;,&quot;width&quot;:&quot;&quot;,&quot;height&quot;:&quot;0.98 cm&quot;,&quot;visibility&quot;:{&quot;action&quot;:&quot;hide&quot;,&quot;compareValue&quot;:&quot;Confidential&quot;,&quot;binding&quot;:&quot;Form.InformationClasses.Term&quot;,&quot;operator&quot;:&quot;notEquals&quot;}}}" title="Form.InformationClasses.BoxfrontPP">
            <a:extLst>
              <a:ext uri="{FF2B5EF4-FFF2-40B4-BE49-F238E27FC236}">
                <a16:creationId xmlns:a16="http://schemas.microsoft.com/office/drawing/2014/main" id="{55D36BA1-D4BC-4775-A77F-957CD77B54F7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chemeClr val="bg2"/>
              </a:solidFill>
            </a:endParaRPr>
          </a:p>
        </p:txBody>
      </p:sp>
      <p:sp>
        <p:nvSpPr>
          <p:cNvPr id="15" name="text" descr="{&quot;templafy&quot;:{&quot;type&quot;:&quot;text&quot;,&quot;binding&quot;:&quot;Form.InformationClasses.TermfrontPP&quot;}}" title="Form.InformationClasses.TermfrontPP">
            <a:extLst>
              <a:ext uri="{FF2B5EF4-FFF2-40B4-BE49-F238E27FC236}">
                <a16:creationId xmlns:a16="http://schemas.microsoft.com/office/drawing/2014/main" id="{26A60F70-C2B2-40A7-8689-24663D22D7AD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rgbClr val="FF5F00"/>
              </a:solidFill>
              <a:latin typeface="Swedbank Headline Bold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470320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 - two columns">
    <p:bg>
      <p:bgPr>
        <a:solidFill>
          <a:srgbClr val="FF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56D3E2AE-17C5-4051-8CFA-81401980D7B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91262" y="0"/>
            <a:ext cx="5900737" cy="6857999"/>
          </a:xfrm>
          <a:solidFill>
            <a:schemeClr val="bg1"/>
          </a:solidFill>
        </p:spPr>
        <p:txBody>
          <a:bodyPr lIns="1080000" tIns="36000" rIns="1080000" anchor="t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200"/>
            </a:lvl1pPr>
          </a:lstStyle>
          <a:p>
            <a:r>
              <a:rPr lang="en-GB" dirty="0"/>
              <a:t>Add an image: Click here, insert image via Templaf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GB" dirty="0"/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225" y="481665"/>
            <a:ext cx="5111751" cy="105224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52159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 - two columns">
    <p:bg>
      <p:bgPr>
        <a:solidFill>
          <a:srgbClr val="EBF9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56D3E2AE-17C5-4051-8CFA-81401980D7B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91262" y="0"/>
            <a:ext cx="5900737" cy="6857999"/>
          </a:xfrm>
          <a:solidFill>
            <a:schemeClr val="bg1"/>
          </a:solidFill>
        </p:spPr>
        <p:txBody>
          <a:bodyPr lIns="1080000" tIns="36000" rIns="1080000" anchor="t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200"/>
            </a:lvl1pPr>
          </a:lstStyle>
          <a:p>
            <a:r>
              <a:rPr lang="en-GB" dirty="0"/>
              <a:t>Add an image: Click here, insert image via Templaf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GB" dirty="0"/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225" y="481665"/>
            <a:ext cx="5111751" cy="105224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38826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-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226" y="1763713"/>
            <a:ext cx="3275012" cy="4175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56800" y="1763713"/>
            <a:ext cx="3275913" cy="417512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8130274" y="1763713"/>
            <a:ext cx="3274325" cy="4175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23660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-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84799" y="2534477"/>
            <a:ext cx="3276000" cy="3407535"/>
          </a:xfrm>
          <a:solidFill>
            <a:srgbClr val="FAEFE5"/>
          </a:solidFill>
        </p:spPr>
        <p:txBody>
          <a:bodyPr lIns="288000" tIns="306000" rIns="288000"/>
          <a:lstStyle>
            <a:lvl1pPr marL="268288" indent="-268288">
              <a:spcBef>
                <a:spcPts val="600"/>
              </a:spcBef>
              <a:buClr>
                <a:srgbClr val="FF5F00"/>
              </a:buClr>
              <a:buFont typeface="Arial" panose="020B0604020202020204" pitchFamily="34" charset="0"/>
              <a:buChar char="●"/>
              <a:defRPr/>
            </a:lvl1pPr>
            <a:lvl2pPr>
              <a:buClr>
                <a:srgbClr val="FF5F00"/>
              </a:buClr>
              <a:defRPr/>
            </a:lvl2pPr>
            <a:lvl3pPr>
              <a:buClr>
                <a:srgbClr val="FF5F00"/>
              </a:buClr>
              <a:defRPr/>
            </a:lvl3pPr>
            <a:lvl4pPr>
              <a:buClr>
                <a:srgbClr val="FF5F00"/>
              </a:buClr>
              <a:defRPr/>
            </a:lvl4pPr>
            <a:lvl5pPr>
              <a:buClr>
                <a:srgbClr val="FF5F00"/>
              </a:buClr>
              <a:defRPr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456799" y="2534477"/>
            <a:ext cx="3276000" cy="3407536"/>
          </a:xfrm>
          <a:solidFill>
            <a:srgbClr val="FAEFE5"/>
          </a:solidFill>
        </p:spPr>
        <p:txBody>
          <a:bodyPr lIns="288000" tIns="306000" rIns="288000"/>
          <a:lstStyle>
            <a:lvl1pPr marL="268288" indent="-268288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●"/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128800" y="2534477"/>
            <a:ext cx="3276000" cy="3407536"/>
          </a:xfrm>
          <a:solidFill>
            <a:srgbClr val="FAEFE5"/>
          </a:solidFill>
        </p:spPr>
        <p:txBody>
          <a:bodyPr lIns="288000" tIns="306000" rIns="288000"/>
          <a:lstStyle>
            <a:lvl1pPr marL="268288" indent="-268288">
              <a:spcBef>
                <a:spcPts val="600"/>
              </a:spcBef>
              <a:buClr>
                <a:srgbClr val="C5569A"/>
              </a:buClr>
              <a:buFont typeface="Arial" panose="020B0604020202020204" pitchFamily="34" charset="0"/>
              <a:buChar char="●"/>
              <a:defRPr/>
            </a:lvl1pPr>
            <a:lvl2pPr>
              <a:buClr>
                <a:srgbClr val="C5569A"/>
              </a:buClr>
              <a:defRPr/>
            </a:lvl2pPr>
            <a:lvl3pPr>
              <a:buClr>
                <a:srgbClr val="C5569A"/>
              </a:buClr>
              <a:defRPr/>
            </a:lvl3pPr>
            <a:lvl4pPr>
              <a:buClr>
                <a:srgbClr val="C5569A"/>
              </a:buClr>
              <a:defRPr/>
            </a:lvl4pPr>
            <a:lvl5pPr>
              <a:buClr>
                <a:srgbClr val="C5569A"/>
              </a:buClr>
              <a:defRPr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787400" y="1836739"/>
            <a:ext cx="3275013" cy="717617"/>
          </a:xfrm>
          <a:solidFill>
            <a:srgbClr val="FF5F00"/>
          </a:solidFill>
        </p:spPr>
        <p:txBody>
          <a:bodyPr lIns="288000" rIns="288000" anchor="ctr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9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459256" y="1836738"/>
            <a:ext cx="3275013" cy="717617"/>
          </a:xfrm>
          <a:solidFill>
            <a:schemeClr val="accent3"/>
          </a:solidFill>
        </p:spPr>
        <p:txBody>
          <a:bodyPr lIns="288000" rIns="288000" anchor="ctr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9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8129588" y="1836739"/>
            <a:ext cx="3275013" cy="717617"/>
          </a:xfrm>
          <a:solidFill>
            <a:srgbClr val="C5569A"/>
          </a:solidFill>
        </p:spPr>
        <p:txBody>
          <a:bodyPr lIns="288000" rIns="288000" anchor="ctr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9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92641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-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84799" y="2534477"/>
            <a:ext cx="3276000" cy="3407535"/>
          </a:xfrm>
          <a:solidFill>
            <a:srgbClr val="FAEFE5"/>
          </a:solidFill>
        </p:spPr>
        <p:txBody>
          <a:bodyPr lIns="288000" tIns="306000" rIns="288000"/>
          <a:lstStyle>
            <a:lvl1pPr marL="268288" indent="-268288">
              <a:spcBef>
                <a:spcPts val="600"/>
              </a:spcBef>
              <a:buClr>
                <a:srgbClr val="FF5F00"/>
              </a:buClr>
              <a:buFont typeface="Arial" panose="020B0604020202020204" pitchFamily="34" charset="0"/>
              <a:buChar char="●"/>
              <a:defRPr/>
            </a:lvl1pPr>
            <a:lvl2pPr>
              <a:buClr>
                <a:srgbClr val="FF5F00"/>
              </a:buClr>
              <a:defRPr/>
            </a:lvl2pPr>
            <a:lvl3pPr>
              <a:buClr>
                <a:srgbClr val="FF5F00"/>
              </a:buClr>
              <a:defRPr/>
            </a:lvl3pPr>
            <a:lvl4pPr>
              <a:buClr>
                <a:srgbClr val="FF5F00"/>
              </a:buClr>
              <a:defRPr/>
            </a:lvl4pPr>
            <a:lvl5pPr>
              <a:buClr>
                <a:srgbClr val="FF5F00"/>
              </a:buClr>
              <a:defRPr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456799" y="2534477"/>
            <a:ext cx="3276000" cy="3407536"/>
          </a:xfrm>
          <a:solidFill>
            <a:srgbClr val="FAEFE5"/>
          </a:solidFill>
        </p:spPr>
        <p:txBody>
          <a:bodyPr lIns="288000" tIns="306000" rIns="288000"/>
          <a:lstStyle>
            <a:lvl1pPr marL="268288" indent="-268288">
              <a:spcBef>
                <a:spcPts val="600"/>
              </a:spcBef>
              <a:buClr>
                <a:srgbClr val="FF9102"/>
              </a:buClr>
              <a:buFont typeface="Arial" panose="020B0604020202020204" pitchFamily="34" charset="0"/>
              <a:buChar char="●"/>
              <a:defRPr/>
            </a:lvl1pPr>
            <a:lvl2pPr>
              <a:buClr>
                <a:schemeClr val="accent5"/>
              </a:buClr>
              <a:defRPr/>
            </a:lvl2pPr>
            <a:lvl3pPr>
              <a:buClr>
                <a:schemeClr val="accent5"/>
              </a:buClr>
              <a:defRPr/>
            </a:lvl3pPr>
            <a:lvl4pPr>
              <a:buClr>
                <a:schemeClr val="accent5"/>
              </a:buClr>
              <a:defRPr/>
            </a:lvl4pPr>
            <a:lvl5pPr>
              <a:buClr>
                <a:srgbClr val="FF9102"/>
              </a:buClr>
              <a:defRPr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128800" y="2534477"/>
            <a:ext cx="3276000" cy="3407536"/>
          </a:xfrm>
          <a:solidFill>
            <a:srgbClr val="FAEFE5"/>
          </a:solidFill>
        </p:spPr>
        <p:txBody>
          <a:bodyPr lIns="288000" tIns="306000" rIns="288000"/>
          <a:lstStyle>
            <a:lvl1pPr marL="268288" indent="-268288">
              <a:spcBef>
                <a:spcPts val="600"/>
              </a:spcBef>
              <a:buClr>
                <a:srgbClr val="FDC92A"/>
              </a:buClr>
              <a:buFont typeface="Arial" panose="020B0604020202020204" pitchFamily="34" charset="0"/>
              <a:buChar char="●"/>
              <a:defRPr/>
            </a:lvl1pPr>
            <a:lvl2pPr>
              <a:buClr>
                <a:srgbClr val="FDC92A"/>
              </a:buClr>
              <a:defRPr/>
            </a:lvl2pPr>
            <a:lvl3pPr>
              <a:buClr>
                <a:srgbClr val="FDC92A"/>
              </a:buClr>
              <a:defRPr/>
            </a:lvl3pPr>
            <a:lvl4pPr>
              <a:buClr>
                <a:srgbClr val="FDC92A"/>
              </a:buClr>
              <a:defRPr/>
            </a:lvl4pPr>
            <a:lvl5pPr>
              <a:buClr>
                <a:srgbClr val="FDC92A"/>
              </a:buClr>
              <a:defRPr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787400" y="1836739"/>
            <a:ext cx="3275013" cy="717617"/>
          </a:xfrm>
          <a:solidFill>
            <a:srgbClr val="FF5F00"/>
          </a:solidFill>
        </p:spPr>
        <p:txBody>
          <a:bodyPr lIns="288000" rIns="288000" anchor="ctr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9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459256" y="1836738"/>
            <a:ext cx="3275013" cy="717617"/>
          </a:xfrm>
          <a:solidFill>
            <a:srgbClr val="FF9102"/>
          </a:solidFill>
        </p:spPr>
        <p:txBody>
          <a:bodyPr lIns="288000" rIns="288000" anchor="ctr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9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8129588" y="1836739"/>
            <a:ext cx="3275013" cy="717617"/>
          </a:xfrm>
          <a:solidFill>
            <a:schemeClr val="accent2"/>
          </a:solidFill>
        </p:spPr>
        <p:txBody>
          <a:bodyPr lIns="288000" rIns="288000" anchor="ctr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9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12478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graphical element">
    <p:bg>
      <p:bgPr>
        <a:solidFill>
          <a:srgbClr val="EBF9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en-GB" noProof="0" dirty="0"/>
              <a:t>Click to add heading on maximum two row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226" y="1763713"/>
            <a:ext cx="6948488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4511A51-2A2A-4300-BF46-3C3CB9228A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21246" y="1746000"/>
            <a:ext cx="3484800" cy="3868322"/>
          </a:xfrm>
          <a:custGeom>
            <a:avLst/>
            <a:gdLst>
              <a:gd name="connsiteX0" fmla="*/ 1700043 w 3484800"/>
              <a:gd name="connsiteY0" fmla="*/ 0 h 3868322"/>
              <a:gd name="connsiteX1" fmla="*/ 1784318 w 3484800"/>
              <a:gd name="connsiteY1" fmla="*/ 0 h 3868322"/>
              <a:gd name="connsiteX2" fmla="*/ 1901903 w 3484800"/>
              <a:gd name="connsiteY2" fmla="*/ 4700 h 3868322"/>
              <a:gd name="connsiteX3" fmla="*/ 3484612 w 3484800"/>
              <a:gd name="connsiteY3" fmla="*/ 1625550 h 3868322"/>
              <a:gd name="connsiteX4" fmla="*/ 1742402 w 3484800"/>
              <a:gd name="connsiteY4" fmla="*/ 3868322 h 3868322"/>
              <a:gd name="connsiteX5" fmla="*/ 192 w 3484800"/>
              <a:gd name="connsiteY5" fmla="*/ 1625550 h 3868322"/>
              <a:gd name="connsiteX6" fmla="*/ 1582754 w 3484800"/>
              <a:gd name="connsiteY6" fmla="*/ 4656 h 386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84800" h="3868322">
                <a:moveTo>
                  <a:pt x="1700043" y="0"/>
                </a:moveTo>
                <a:lnTo>
                  <a:pt x="1784318" y="0"/>
                </a:lnTo>
                <a:lnTo>
                  <a:pt x="1901903" y="4700"/>
                </a:lnTo>
                <a:cubicBezTo>
                  <a:pt x="2697790" y="68375"/>
                  <a:pt x="3448975" y="608757"/>
                  <a:pt x="3484612" y="1625550"/>
                </a:cubicBezTo>
                <a:cubicBezTo>
                  <a:pt x="3501632" y="3093953"/>
                  <a:pt x="2363555" y="3042913"/>
                  <a:pt x="1742402" y="3868322"/>
                </a:cubicBezTo>
                <a:cubicBezTo>
                  <a:pt x="1121348" y="3043135"/>
                  <a:pt x="-16975" y="3093584"/>
                  <a:pt x="192" y="1625550"/>
                </a:cubicBezTo>
                <a:cubicBezTo>
                  <a:pt x="35737" y="608308"/>
                  <a:pt x="786873" y="68108"/>
                  <a:pt x="1582754" y="4656"/>
                </a:cubicBezTo>
                <a:close/>
              </a:path>
            </a:pathLst>
          </a:custGeom>
          <a:solidFill>
            <a:srgbClr val="FF5F00"/>
          </a:solidFill>
        </p:spPr>
        <p:txBody>
          <a:bodyPr wrap="square" lIns="108000" tIns="0" rIns="108000" bIns="360000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US" dirty="0"/>
              <a:t>Click to add message</a:t>
            </a:r>
            <a:endParaRPr lang="en-GB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68883532"/>
      </p:ext>
    </p:extLst>
  </p:cSld>
  <p:clrMapOvr>
    <a:masterClrMapping/>
  </p:clrMapOvr>
  <p:hf hd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with graphical element">
    <p:bg>
      <p:bgPr>
        <a:solidFill>
          <a:srgbClr val="FAEF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en-GB" noProof="0" dirty="0"/>
              <a:t>Click to add heading on maximum two row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226" y="1763713"/>
            <a:ext cx="6948488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4511A51-2A2A-4300-BF46-3C3CB9228A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21246" y="1746000"/>
            <a:ext cx="3484800" cy="3868322"/>
          </a:xfrm>
          <a:custGeom>
            <a:avLst/>
            <a:gdLst>
              <a:gd name="connsiteX0" fmla="*/ 1700043 w 3484800"/>
              <a:gd name="connsiteY0" fmla="*/ 0 h 3868322"/>
              <a:gd name="connsiteX1" fmla="*/ 1784318 w 3484800"/>
              <a:gd name="connsiteY1" fmla="*/ 0 h 3868322"/>
              <a:gd name="connsiteX2" fmla="*/ 1901903 w 3484800"/>
              <a:gd name="connsiteY2" fmla="*/ 4700 h 3868322"/>
              <a:gd name="connsiteX3" fmla="*/ 3484612 w 3484800"/>
              <a:gd name="connsiteY3" fmla="*/ 1625550 h 3868322"/>
              <a:gd name="connsiteX4" fmla="*/ 1742402 w 3484800"/>
              <a:gd name="connsiteY4" fmla="*/ 3868322 h 3868322"/>
              <a:gd name="connsiteX5" fmla="*/ 192 w 3484800"/>
              <a:gd name="connsiteY5" fmla="*/ 1625550 h 3868322"/>
              <a:gd name="connsiteX6" fmla="*/ 1582754 w 3484800"/>
              <a:gd name="connsiteY6" fmla="*/ 4656 h 386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84800" h="3868322">
                <a:moveTo>
                  <a:pt x="1700043" y="0"/>
                </a:moveTo>
                <a:lnTo>
                  <a:pt x="1784318" y="0"/>
                </a:lnTo>
                <a:lnTo>
                  <a:pt x="1901903" y="4700"/>
                </a:lnTo>
                <a:cubicBezTo>
                  <a:pt x="2697790" y="68375"/>
                  <a:pt x="3448975" y="608757"/>
                  <a:pt x="3484612" y="1625550"/>
                </a:cubicBezTo>
                <a:cubicBezTo>
                  <a:pt x="3501632" y="3093953"/>
                  <a:pt x="2363555" y="3042913"/>
                  <a:pt x="1742402" y="3868322"/>
                </a:cubicBezTo>
                <a:cubicBezTo>
                  <a:pt x="1121348" y="3043135"/>
                  <a:pt x="-16975" y="3093584"/>
                  <a:pt x="192" y="1625550"/>
                </a:cubicBezTo>
                <a:cubicBezTo>
                  <a:pt x="35737" y="608308"/>
                  <a:pt x="786873" y="68108"/>
                  <a:pt x="1582754" y="4656"/>
                </a:cubicBezTo>
                <a:close/>
              </a:path>
            </a:pathLst>
          </a:custGeom>
          <a:solidFill>
            <a:srgbClr val="FF5F00"/>
          </a:solidFill>
        </p:spPr>
        <p:txBody>
          <a:bodyPr wrap="square" lIns="108000" tIns="0" rIns="108000" bIns="360000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US" dirty="0"/>
              <a:t>Click to add message</a:t>
            </a:r>
            <a:endParaRPr lang="en-GB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34120689"/>
      </p:ext>
    </p:extLst>
  </p:cSld>
  <p:clrMapOvr>
    <a:masterClrMapping/>
  </p:clrMapOvr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with graphical element">
    <p:bg>
      <p:bgPr>
        <a:solidFill>
          <a:srgbClr val="FF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en-GB" noProof="0" dirty="0"/>
              <a:t>Click to add heading on maximum two row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226" y="1763713"/>
            <a:ext cx="6948488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4511A51-2A2A-4300-BF46-3C3CB9228A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21246" y="1746000"/>
            <a:ext cx="3484800" cy="3868322"/>
          </a:xfrm>
          <a:custGeom>
            <a:avLst/>
            <a:gdLst>
              <a:gd name="connsiteX0" fmla="*/ 1700043 w 3484800"/>
              <a:gd name="connsiteY0" fmla="*/ 0 h 3868322"/>
              <a:gd name="connsiteX1" fmla="*/ 1784318 w 3484800"/>
              <a:gd name="connsiteY1" fmla="*/ 0 h 3868322"/>
              <a:gd name="connsiteX2" fmla="*/ 1901903 w 3484800"/>
              <a:gd name="connsiteY2" fmla="*/ 4700 h 3868322"/>
              <a:gd name="connsiteX3" fmla="*/ 3484612 w 3484800"/>
              <a:gd name="connsiteY3" fmla="*/ 1625550 h 3868322"/>
              <a:gd name="connsiteX4" fmla="*/ 1742402 w 3484800"/>
              <a:gd name="connsiteY4" fmla="*/ 3868322 h 3868322"/>
              <a:gd name="connsiteX5" fmla="*/ 192 w 3484800"/>
              <a:gd name="connsiteY5" fmla="*/ 1625550 h 3868322"/>
              <a:gd name="connsiteX6" fmla="*/ 1582754 w 3484800"/>
              <a:gd name="connsiteY6" fmla="*/ 4656 h 386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84800" h="3868322">
                <a:moveTo>
                  <a:pt x="1700043" y="0"/>
                </a:moveTo>
                <a:lnTo>
                  <a:pt x="1784318" y="0"/>
                </a:lnTo>
                <a:lnTo>
                  <a:pt x="1901903" y="4700"/>
                </a:lnTo>
                <a:cubicBezTo>
                  <a:pt x="2697790" y="68375"/>
                  <a:pt x="3448975" y="608757"/>
                  <a:pt x="3484612" y="1625550"/>
                </a:cubicBezTo>
                <a:cubicBezTo>
                  <a:pt x="3501632" y="3093953"/>
                  <a:pt x="2363555" y="3042913"/>
                  <a:pt x="1742402" y="3868322"/>
                </a:cubicBezTo>
                <a:cubicBezTo>
                  <a:pt x="1121348" y="3043135"/>
                  <a:pt x="-16975" y="3093584"/>
                  <a:pt x="192" y="1625550"/>
                </a:cubicBezTo>
                <a:cubicBezTo>
                  <a:pt x="35737" y="608308"/>
                  <a:pt x="786873" y="68108"/>
                  <a:pt x="1582754" y="4656"/>
                </a:cubicBezTo>
                <a:close/>
              </a:path>
            </a:pathLst>
          </a:custGeom>
          <a:solidFill>
            <a:srgbClr val="FF5F00"/>
          </a:solidFill>
        </p:spPr>
        <p:txBody>
          <a:bodyPr wrap="square" lIns="108000" tIns="0" rIns="108000" bIns="360000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US" dirty="0"/>
              <a:t>Click to add message</a:t>
            </a:r>
            <a:endParaRPr lang="en-GB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02515427"/>
      </p:ext>
    </p:extLst>
  </p:cSld>
  <p:clrMapOvr>
    <a:masterClrMapping/>
  </p:clrMapOvr>
  <p:hf hd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mage and graphical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">
            <a:extLst>
              <a:ext uri="{FF2B5EF4-FFF2-40B4-BE49-F238E27FC236}">
                <a16:creationId xmlns:a16="http://schemas.microsoft.com/office/drawing/2014/main" id="{DF687458-A9F7-4182-9CDB-598F452798E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6154" cy="6858000"/>
          </a:xfrm>
          <a:noFill/>
        </p:spPr>
        <p:txBody>
          <a:bodyPr tIns="36000"/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an image: Click here, insert image via Templafy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B01DE2A-FF64-4C84-9084-E50337E586FC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8553349" y="773706"/>
            <a:ext cx="3006000" cy="3006000"/>
          </a:xfrm>
          <a:prstGeom prst="ellipse">
            <a:avLst/>
          </a:prstGeom>
          <a:solidFill>
            <a:srgbClr val="FF5F00"/>
          </a:solidFill>
        </p:spPr>
        <p:txBody>
          <a:bodyPr wrap="square" lIns="108000" tIns="108000" rIns="108000" bIns="108000" anchor="ctr" anchorCtr="0">
            <a:noAutofit/>
          </a:bodyPr>
          <a:lstStyle>
            <a:lvl1pPr marL="0" indent="0" algn="ctr">
              <a:lnSpc>
                <a:spcPct val="115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GB" dirty="0"/>
              <a:t>Click to add text, place the circle to fit the image</a:t>
            </a:r>
          </a:p>
        </p:txBody>
      </p:sp>
    </p:spTree>
    <p:extLst>
      <p:ext uri="{BB962C8B-B14F-4D97-AF65-F5344CB8AC3E}">
        <p14:creationId xmlns:p14="http://schemas.microsoft.com/office/powerpoint/2010/main" val="29987427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Image and graphical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">
            <a:extLst>
              <a:ext uri="{FF2B5EF4-FFF2-40B4-BE49-F238E27FC236}">
                <a16:creationId xmlns:a16="http://schemas.microsoft.com/office/drawing/2014/main" id="{DF687458-A9F7-4182-9CDB-598F452798E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6154" cy="6858000"/>
          </a:xfrm>
          <a:noFill/>
        </p:spPr>
        <p:txBody>
          <a:bodyPr tIns="36000"/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an image: Click here, insert image via Templafy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ED2DDD8-A6C0-4722-B160-05B5C7618194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1074301" y="2932838"/>
            <a:ext cx="3006000" cy="3006000"/>
          </a:xfrm>
          <a:prstGeom prst="ellipse">
            <a:avLst/>
          </a:prstGeom>
          <a:solidFill>
            <a:srgbClr val="FDC92A"/>
          </a:solidFill>
        </p:spPr>
        <p:txBody>
          <a:bodyPr wrap="square" lIns="108000" tIns="108000" rIns="108000" bIns="108000" anchor="ctr" anchorCtr="0">
            <a:noAutofit/>
          </a:bodyPr>
          <a:lstStyle>
            <a:lvl1pPr marL="0" indent="0" algn="ctr">
              <a:lnSpc>
                <a:spcPct val="115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GB" dirty="0"/>
              <a:t>Click to add text, place the circle to fit the 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C23AC8D-2FDA-4C41-B15B-B7063CF859E6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593213" y="2932838"/>
            <a:ext cx="3006000" cy="3006000"/>
          </a:xfrm>
          <a:prstGeom prst="ellipse">
            <a:avLst/>
          </a:prstGeom>
          <a:solidFill>
            <a:srgbClr val="FF9102"/>
          </a:solidFill>
        </p:spPr>
        <p:txBody>
          <a:bodyPr wrap="square" lIns="108000" tIns="108000" rIns="108000" bIns="108000" anchor="ctr" anchorCtr="0">
            <a:noAutofit/>
          </a:bodyPr>
          <a:lstStyle>
            <a:lvl1pPr marL="0" indent="0" algn="ctr">
              <a:lnSpc>
                <a:spcPct val="115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GB" dirty="0"/>
              <a:t>Click to add text, place the circle to fit the imag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6B8687A-8FE8-4330-9C42-41A69DBED9AA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8127574" y="2932838"/>
            <a:ext cx="3006000" cy="3006000"/>
          </a:xfrm>
          <a:prstGeom prst="ellipse">
            <a:avLst/>
          </a:prstGeom>
          <a:solidFill>
            <a:srgbClr val="FF5F00"/>
          </a:solidFill>
        </p:spPr>
        <p:txBody>
          <a:bodyPr wrap="square" lIns="108000" tIns="108000" rIns="108000" bIns="108000" anchor="ctr" anchorCtr="0">
            <a:noAutofit/>
          </a:bodyPr>
          <a:lstStyle>
            <a:lvl1pPr marL="0" indent="0" algn="ctr">
              <a:lnSpc>
                <a:spcPct val="115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GB" dirty="0"/>
              <a:t>Click to add text, place the circle to fit the image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551567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, oak shape &amp; image">
    <p:bg>
      <p:bgPr>
        <a:solidFill>
          <a:srgbClr val="FF5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Logo">
            <a:extLst>
              <a:ext uri="{FF2B5EF4-FFF2-40B4-BE49-F238E27FC236}">
                <a16:creationId xmlns:a16="http://schemas.microsoft.com/office/drawing/2014/main" id="{AFEA9D5F-A4C6-434B-B5A6-AD71825F9A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8708" y="277629"/>
            <a:ext cx="2851340" cy="612378"/>
          </a:xfrm>
          <a:prstGeom prst="rect">
            <a:avLst/>
          </a:prstGeom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FB5A6843-5FCE-4D1F-8A6E-DDEFE680F5A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79726" y="1332000"/>
            <a:ext cx="9312275" cy="5526000"/>
          </a:xfrm>
          <a:custGeom>
            <a:avLst/>
            <a:gdLst>
              <a:gd name="connsiteX0" fmla="*/ 7421459 w 9312275"/>
              <a:gd name="connsiteY0" fmla="*/ 0 h 5526000"/>
              <a:gd name="connsiteX1" fmla="*/ 7476336 w 9312275"/>
              <a:gd name="connsiteY1" fmla="*/ 0 h 5526000"/>
              <a:gd name="connsiteX2" fmla="*/ 7588825 w 9312275"/>
              <a:gd name="connsiteY2" fmla="*/ 4117 h 5526000"/>
              <a:gd name="connsiteX3" fmla="*/ 9188074 w 9312275"/>
              <a:gd name="connsiteY3" fmla="*/ 289873 h 5526000"/>
              <a:gd name="connsiteX4" fmla="*/ 9312275 w 9312275"/>
              <a:gd name="connsiteY4" fmla="*/ 259466 h 5526000"/>
              <a:gd name="connsiteX5" fmla="*/ 9312275 w 9312275"/>
              <a:gd name="connsiteY5" fmla="*/ 5526000 h 5526000"/>
              <a:gd name="connsiteX6" fmla="*/ 0 w 9312275"/>
              <a:gd name="connsiteY6" fmla="*/ 5526000 h 5526000"/>
              <a:gd name="connsiteX7" fmla="*/ 285750 w 9312275"/>
              <a:gd name="connsiteY7" fmla="*/ 4771620 h 5526000"/>
              <a:gd name="connsiteX8" fmla="*/ 1178560 w 9312275"/>
              <a:gd name="connsiteY8" fmla="*/ 4529685 h 5526000"/>
              <a:gd name="connsiteX9" fmla="*/ 2059306 w 9312275"/>
              <a:gd name="connsiteY9" fmla="*/ 2409420 h 5526000"/>
              <a:gd name="connsiteX10" fmla="*/ 4157345 w 9312275"/>
              <a:gd name="connsiteY10" fmla="*/ 1871575 h 5526000"/>
              <a:gd name="connsiteX11" fmla="*/ 5100320 w 9312275"/>
              <a:gd name="connsiteY11" fmla="*/ 364720 h 5526000"/>
              <a:gd name="connsiteX12" fmla="*/ 6146800 w 9312275"/>
              <a:gd name="connsiteY12" fmla="*/ 528550 h 5526000"/>
              <a:gd name="connsiteX13" fmla="*/ 7337790 w 9312275"/>
              <a:gd name="connsiteY13" fmla="*/ 3289 h 552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312275" h="5526000">
                <a:moveTo>
                  <a:pt x="7421459" y="0"/>
                </a:moveTo>
                <a:lnTo>
                  <a:pt x="7476336" y="0"/>
                </a:lnTo>
                <a:lnTo>
                  <a:pt x="7588825" y="4117"/>
                </a:lnTo>
                <a:cubicBezTo>
                  <a:pt x="8227954" y="50954"/>
                  <a:pt x="8618953" y="398610"/>
                  <a:pt x="9188074" y="289873"/>
                </a:cubicBezTo>
                <a:lnTo>
                  <a:pt x="9312275" y="259466"/>
                </a:lnTo>
                <a:lnTo>
                  <a:pt x="9312275" y="5526000"/>
                </a:lnTo>
                <a:lnTo>
                  <a:pt x="0" y="5526000"/>
                </a:lnTo>
                <a:cubicBezTo>
                  <a:pt x="17780" y="5292956"/>
                  <a:pt x="-53975" y="4951325"/>
                  <a:pt x="285750" y="4771620"/>
                </a:cubicBezTo>
                <a:cubicBezTo>
                  <a:pt x="697865" y="4553180"/>
                  <a:pt x="861695" y="4770985"/>
                  <a:pt x="1178560" y="4529685"/>
                </a:cubicBezTo>
                <a:cubicBezTo>
                  <a:pt x="2386330" y="3608300"/>
                  <a:pt x="1329690" y="3231745"/>
                  <a:pt x="2059306" y="2409420"/>
                </a:cubicBezTo>
                <a:cubicBezTo>
                  <a:pt x="2985136" y="1364845"/>
                  <a:pt x="2668905" y="2404975"/>
                  <a:pt x="4157345" y="1871575"/>
                </a:cubicBezTo>
                <a:cubicBezTo>
                  <a:pt x="4869181" y="1616305"/>
                  <a:pt x="4685665" y="621895"/>
                  <a:pt x="5100320" y="364720"/>
                </a:cubicBezTo>
                <a:cubicBezTo>
                  <a:pt x="5508625" y="111355"/>
                  <a:pt x="5747385" y="632690"/>
                  <a:pt x="6146800" y="528550"/>
                </a:cubicBezTo>
                <a:cubicBezTo>
                  <a:pt x="6676033" y="390438"/>
                  <a:pt x="6814034" y="45826"/>
                  <a:pt x="7337790" y="328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4896000" tIns="1224000" rIns="180000">
            <a:noAutofit/>
          </a:bodyPr>
          <a:lstStyle>
            <a:lvl1pPr marL="0" indent="0" algn="r">
              <a:buNone/>
              <a:defRPr sz="2400"/>
            </a:lvl1pPr>
          </a:lstStyle>
          <a:p>
            <a:r>
              <a:rPr lang="en-GB" dirty="0"/>
              <a:t>Add an image: Click here, insert image via Templafy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BB63C34-DE30-478C-81B2-BE02535AAF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722" y="752384"/>
            <a:ext cx="6340488" cy="1623066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 on max two rows</a:t>
            </a:r>
            <a:endParaRPr lang="en-GB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DA2D730-07CB-40C0-940C-70829D9096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6722" y="2650117"/>
            <a:ext cx="4312904" cy="72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21600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image" descr="{&quot;templafy&quot;:{&quot;type&quot;:&quot;image&quot;,&quot;binding&quot;:&quot;Form.InformationClasses.BoxfrontPP&quot;,&quot;inheritDimensions&quot;:&quot;inheritNone&quot;,&quot;width&quot;:&quot;&quot;,&quot;height&quot;:&quot;0.98 cm&quot;,&quot;visibility&quot;:{&quot;action&quot;:&quot;hide&quot;,&quot;compareValue&quot;:&quot;Confidential&quot;,&quot;binding&quot;:&quot;Form.InformationClasses.Term&quot;,&quot;operator&quot;:&quot;notEquals&quot;}}}" title="Form.InformationClasses.BoxfrontPP">
            <a:extLst>
              <a:ext uri="{FF2B5EF4-FFF2-40B4-BE49-F238E27FC236}">
                <a16:creationId xmlns:a16="http://schemas.microsoft.com/office/drawing/2014/main" id="{685E50FC-A129-481D-8568-78635AE9FFB7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chemeClr val="bg2"/>
              </a:solidFill>
            </a:endParaRPr>
          </a:p>
        </p:txBody>
      </p:sp>
      <p:sp>
        <p:nvSpPr>
          <p:cNvPr id="12" name="text" descr="{&quot;templafy&quot;:{&quot;type&quot;:&quot;text&quot;,&quot;binding&quot;:&quot;Form.InformationClasses.TermfrontPP&quot;}}" title="Form.InformationClasses.TermfrontPP">
            <a:extLst>
              <a:ext uri="{FF2B5EF4-FFF2-40B4-BE49-F238E27FC236}">
                <a16:creationId xmlns:a16="http://schemas.microsoft.com/office/drawing/2014/main" id="{A50FB952-6048-4E70-B942-088575429E29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rgbClr val="FF5F00"/>
              </a:solidFill>
              <a:latin typeface="Swedbank Headline Bold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398301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aphical element on colour">
    <p:bg>
      <p:bgPr>
        <a:solidFill>
          <a:srgbClr val="FFF1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3A8EB05-7D68-41F1-ABFF-FDDA95CAA141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3817736" y="932699"/>
            <a:ext cx="4556528" cy="5058000"/>
          </a:xfrm>
          <a:custGeom>
            <a:avLst/>
            <a:gdLst>
              <a:gd name="connsiteX0" fmla="*/ 1700043 w 3484800"/>
              <a:gd name="connsiteY0" fmla="*/ 0 h 3868322"/>
              <a:gd name="connsiteX1" fmla="*/ 1784318 w 3484800"/>
              <a:gd name="connsiteY1" fmla="*/ 0 h 3868322"/>
              <a:gd name="connsiteX2" fmla="*/ 1901903 w 3484800"/>
              <a:gd name="connsiteY2" fmla="*/ 4700 h 3868322"/>
              <a:gd name="connsiteX3" fmla="*/ 3484612 w 3484800"/>
              <a:gd name="connsiteY3" fmla="*/ 1625550 h 3868322"/>
              <a:gd name="connsiteX4" fmla="*/ 1742402 w 3484800"/>
              <a:gd name="connsiteY4" fmla="*/ 3868322 h 3868322"/>
              <a:gd name="connsiteX5" fmla="*/ 192 w 3484800"/>
              <a:gd name="connsiteY5" fmla="*/ 1625550 h 3868322"/>
              <a:gd name="connsiteX6" fmla="*/ 1582754 w 3484800"/>
              <a:gd name="connsiteY6" fmla="*/ 4656 h 386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84800" h="3868322">
                <a:moveTo>
                  <a:pt x="1700043" y="0"/>
                </a:moveTo>
                <a:lnTo>
                  <a:pt x="1784318" y="0"/>
                </a:lnTo>
                <a:lnTo>
                  <a:pt x="1901903" y="4700"/>
                </a:lnTo>
                <a:cubicBezTo>
                  <a:pt x="2697790" y="68375"/>
                  <a:pt x="3448975" y="608757"/>
                  <a:pt x="3484612" y="1625550"/>
                </a:cubicBezTo>
                <a:cubicBezTo>
                  <a:pt x="3501632" y="3093953"/>
                  <a:pt x="2363555" y="3042913"/>
                  <a:pt x="1742402" y="3868322"/>
                </a:cubicBezTo>
                <a:cubicBezTo>
                  <a:pt x="1121348" y="3043135"/>
                  <a:pt x="-16975" y="3093584"/>
                  <a:pt x="192" y="1625550"/>
                </a:cubicBezTo>
                <a:cubicBezTo>
                  <a:pt x="35737" y="608308"/>
                  <a:pt x="786873" y="68108"/>
                  <a:pt x="1582754" y="4656"/>
                </a:cubicBezTo>
                <a:close/>
              </a:path>
            </a:pathLst>
          </a:custGeom>
          <a:solidFill>
            <a:srgbClr val="FF5F00"/>
          </a:solidFill>
        </p:spPr>
        <p:txBody>
          <a:bodyPr wrap="square" lIns="252000" tIns="0" rIns="252000" bIns="360000" anchor="ctr" anchorCtr="0">
            <a:no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800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US" dirty="0"/>
              <a:t>Add message</a:t>
            </a:r>
            <a:endParaRPr lang="en-GB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512259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aphical element on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">
            <a:extLst>
              <a:ext uri="{FF2B5EF4-FFF2-40B4-BE49-F238E27FC236}">
                <a16:creationId xmlns:a16="http://schemas.microsoft.com/office/drawing/2014/main" id="{503D833F-6558-4847-B9DB-8AA23362B55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6154" cy="6858000"/>
          </a:xfrm>
          <a:noFill/>
        </p:spPr>
        <p:txBody>
          <a:bodyPr tIns="36000"/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an image: Click here, insert image via Templafy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EAC051A-7CEC-463A-BE1D-04106CEF688F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3817736" y="932699"/>
            <a:ext cx="4556528" cy="5058000"/>
          </a:xfrm>
          <a:custGeom>
            <a:avLst/>
            <a:gdLst>
              <a:gd name="connsiteX0" fmla="*/ 1700043 w 3484800"/>
              <a:gd name="connsiteY0" fmla="*/ 0 h 3868322"/>
              <a:gd name="connsiteX1" fmla="*/ 1784318 w 3484800"/>
              <a:gd name="connsiteY1" fmla="*/ 0 h 3868322"/>
              <a:gd name="connsiteX2" fmla="*/ 1901903 w 3484800"/>
              <a:gd name="connsiteY2" fmla="*/ 4700 h 3868322"/>
              <a:gd name="connsiteX3" fmla="*/ 3484612 w 3484800"/>
              <a:gd name="connsiteY3" fmla="*/ 1625550 h 3868322"/>
              <a:gd name="connsiteX4" fmla="*/ 1742402 w 3484800"/>
              <a:gd name="connsiteY4" fmla="*/ 3868322 h 3868322"/>
              <a:gd name="connsiteX5" fmla="*/ 192 w 3484800"/>
              <a:gd name="connsiteY5" fmla="*/ 1625550 h 3868322"/>
              <a:gd name="connsiteX6" fmla="*/ 1582754 w 3484800"/>
              <a:gd name="connsiteY6" fmla="*/ 4656 h 386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84800" h="3868322">
                <a:moveTo>
                  <a:pt x="1700043" y="0"/>
                </a:moveTo>
                <a:lnTo>
                  <a:pt x="1784318" y="0"/>
                </a:lnTo>
                <a:lnTo>
                  <a:pt x="1901903" y="4700"/>
                </a:lnTo>
                <a:cubicBezTo>
                  <a:pt x="2697790" y="68375"/>
                  <a:pt x="3448975" y="608757"/>
                  <a:pt x="3484612" y="1625550"/>
                </a:cubicBezTo>
                <a:cubicBezTo>
                  <a:pt x="3501632" y="3093953"/>
                  <a:pt x="2363555" y="3042913"/>
                  <a:pt x="1742402" y="3868322"/>
                </a:cubicBezTo>
                <a:cubicBezTo>
                  <a:pt x="1121348" y="3043135"/>
                  <a:pt x="-16975" y="3093584"/>
                  <a:pt x="192" y="1625550"/>
                </a:cubicBezTo>
                <a:cubicBezTo>
                  <a:pt x="35737" y="608308"/>
                  <a:pt x="786873" y="68108"/>
                  <a:pt x="1582754" y="4656"/>
                </a:cubicBezTo>
                <a:close/>
              </a:path>
            </a:pathLst>
          </a:custGeom>
          <a:solidFill>
            <a:srgbClr val="FF5F00"/>
          </a:solidFill>
        </p:spPr>
        <p:txBody>
          <a:bodyPr wrap="square" lIns="252000" tIns="0" rIns="252000" bIns="360000" anchor="ctr" anchorCtr="0">
            <a:no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800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US" dirty="0"/>
              <a:t>Add message</a:t>
            </a:r>
            <a:endParaRPr lang="en-GB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07073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, oak shape &amp; logotype">
    <p:bg>
      <p:bgPr>
        <a:solidFill>
          <a:srgbClr val="FDC9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3">
            <a:extLst>
              <a:ext uri="{FF2B5EF4-FFF2-40B4-BE49-F238E27FC236}">
                <a16:creationId xmlns:a16="http://schemas.microsoft.com/office/drawing/2014/main" id="{58D7241C-1382-42A0-91AA-EBCB856DB4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3" name="Bildobjekt 8">
            <a:extLst>
              <a:ext uri="{FF2B5EF4-FFF2-40B4-BE49-F238E27FC236}">
                <a16:creationId xmlns:a16="http://schemas.microsoft.com/office/drawing/2014/main" id="{F2EF57CF-4C06-47C5-A4D5-BF30A836471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7114" y="2759162"/>
            <a:ext cx="6237771" cy="1339676"/>
          </a:xfrm>
          <a:prstGeom prst="rect">
            <a:avLst/>
          </a:prstGeom>
        </p:spPr>
      </p:pic>
      <p:sp>
        <p:nvSpPr>
          <p:cNvPr id="9" name="image" descr="{&quot;templafy&quot;:{&quot;type&quot;:&quot;image&quot;,&quot;binding&quot;:&quot;Form.InformationClasses.BoxfrontPP&quot;,&quot;inheritDimensions&quot;:&quot;inheritNone&quot;,&quot;width&quot;:&quot;&quot;,&quot;height&quot;:&quot;0.98 cm&quot;,&quot;visibility&quot;:{&quot;action&quot;:&quot;hide&quot;,&quot;compareValue&quot;:&quot;Confidential&quot;,&quot;binding&quot;:&quot;Form.InformationClasses.Term&quot;,&quot;operator&quot;:&quot;notEquals&quot;}}}" title="Form.InformationClasses.BoxfrontPP">
            <a:extLst>
              <a:ext uri="{FF2B5EF4-FFF2-40B4-BE49-F238E27FC236}">
                <a16:creationId xmlns:a16="http://schemas.microsoft.com/office/drawing/2014/main" id="{9AF83976-4C8B-4346-9D02-F6D2231AADFD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chemeClr val="bg2"/>
              </a:solidFill>
            </a:endParaRPr>
          </a:p>
        </p:txBody>
      </p:sp>
      <p:sp>
        <p:nvSpPr>
          <p:cNvPr id="10" name="text" descr="{&quot;templafy&quot;:{&quot;type&quot;:&quot;text&quot;,&quot;binding&quot;:&quot;Form.InformationClasses.TermfrontPP&quot;}}" title="Form.InformationClasses.TermfrontPP">
            <a:extLst>
              <a:ext uri="{FF2B5EF4-FFF2-40B4-BE49-F238E27FC236}">
                <a16:creationId xmlns:a16="http://schemas.microsoft.com/office/drawing/2014/main" id="{42A3E501-303C-44A9-8724-5C6E7EFA99BA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rgbClr val="FF5F00"/>
              </a:solidFill>
              <a:latin typeface="Swedbank Headline Bold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579667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nd slide with image &amp; logotyp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Bildobjekt 8">
            <a:extLst>
              <a:ext uri="{FF2B5EF4-FFF2-40B4-BE49-F238E27FC236}">
                <a16:creationId xmlns:a16="http://schemas.microsoft.com/office/drawing/2014/main" id="{B09103F3-7122-4AAE-8A93-C7507B7A502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598116" y="2731502"/>
            <a:ext cx="7415902" cy="1592702"/>
          </a:xfrm>
          <a:prstGeom prst="rect">
            <a:avLst/>
          </a:prstGeom>
        </p:spPr>
      </p:pic>
      <p:sp>
        <p:nvSpPr>
          <p:cNvPr id="7" name="image" descr="{&quot;templafy&quot;:{&quot;type&quot;:&quot;image&quot;,&quot;binding&quot;:&quot;Form.InformationClasses.BoxfrontPP&quot;,&quot;inheritDimensions&quot;:&quot;inheritNone&quot;,&quot;width&quot;:&quot;&quot;,&quot;height&quot;:&quot;0.98 cm&quot;,&quot;visibility&quot;:{&quot;action&quot;:&quot;hide&quot;,&quot;compareValue&quot;:&quot;Confidential&quot;,&quot;binding&quot;:&quot;Form.InformationClasses.Term&quot;,&quot;operator&quot;:&quot;notEquals&quot;}}}" title="Form.InformationClasses.BoxfrontPP">
            <a:extLst>
              <a:ext uri="{FF2B5EF4-FFF2-40B4-BE49-F238E27FC236}">
                <a16:creationId xmlns:a16="http://schemas.microsoft.com/office/drawing/2014/main" id="{D31AA2B2-193B-4249-B13A-062F30CC8613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chemeClr val="bg2"/>
              </a:solidFill>
            </a:endParaRPr>
          </a:p>
        </p:txBody>
      </p:sp>
      <p:sp>
        <p:nvSpPr>
          <p:cNvPr id="9" name="text" descr="{&quot;templafy&quot;:{&quot;type&quot;:&quot;text&quot;,&quot;binding&quot;:&quot;Form.InformationClasses.TermfrontPP&quot;}}" title="Form.InformationClasses.TermfrontPP">
            <a:extLst>
              <a:ext uri="{FF2B5EF4-FFF2-40B4-BE49-F238E27FC236}">
                <a16:creationId xmlns:a16="http://schemas.microsoft.com/office/drawing/2014/main" id="{C9FCE636-D515-426D-90A0-A5B44E02ADFB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rgbClr val="FF5F00"/>
              </a:solidFill>
              <a:latin typeface="Swedbank Headline Bold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286932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67579" y="1533525"/>
            <a:ext cx="2786833" cy="4154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PICTURES</a:t>
            </a:r>
            <a:endParaRPr lang="da-DK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corporate picture from Templafy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blu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fy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dropdown, click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click th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 </a:t>
            </a:r>
            <a:r>
              <a:rPr lang="da-DK" altLang="da-DK" sz="900" b="0" i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ton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the Templafy pane on the right side of the screen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da-DK" altLang="da-DK" sz="900" b="0" baseline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254412" y="1801606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2" name="Text Box 2">
            <a:extLst>
              <a:ext uri="{FF2B5EF4-FFF2-40B4-BE49-F238E27FC236}">
                <a16:creationId xmlns:a16="http://schemas.microsoft.com/office/drawing/2014/main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90730" y="1539155"/>
            <a:ext cx="2280360" cy="47397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TEXT STYLES</a:t>
            </a:r>
            <a:endParaRPr lang="da-DK" altLang="da-DK" sz="14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levels. Click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</a:t>
            </a:r>
            <a:br>
              <a:rPr 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sz="900" baseline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bullet for regular text.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bullet button to reaply the correct bullet ag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SLIDES &amp; LAY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menu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to insert a new slide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900" dirty="0" err="1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Click</a:t>
            </a:r>
            <a:r>
              <a:rPr lang="da-DK" sz="900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on the </a:t>
            </a:r>
            <a:r>
              <a:rPr lang="da-DK" sz="900" dirty="0" err="1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arrownext</a:t>
            </a:r>
            <a:r>
              <a:rPr lang="da-DK" sz="900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to </a:t>
            </a:r>
            <a:r>
              <a:rPr lang="da-DK" sz="900" b="1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Layout</a:t>
            </a:r>
            <a:br>
              <a:rPr lang="da-DK" sz="900" b="1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</a:br>
            <a:r>
              <a:rPr lang="da-DK" sz="900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to view a </a:t>
            </a:r>
            <a:r>
              <a:rPr lang="da-DK" sz="900" dirty="0" err="1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dropdown</a:t>
            </a:r>
            <a:r>
              <a:rPr lang="da-DK" sz="900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menu of </a:t>
            </a:r>
            <a:r>
              <a:rPr lang="da-DK" sz="900" dirty="0" err="1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possible</a:t>
            </a:r>
            <a:r>
              <a:rPr lang="da-DK" sz="900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slide layouts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da-DK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10609" y="3248359"/>
            <a:ext cx="257143" cy="285714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111150" y="2525176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54412" y="3044335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117031" y="4238911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117031" y="5567064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310433" y="3854075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729773" y="1533525"/>
            <a:ext cx="2358243" cy="390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only used on one sl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GRIDLINES</a:t>
            </a:r>
            <a:endParaRPr lang="da-DK" sz="16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and set tick mark next to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element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the dropdown menu or from the buttons in the Templafy pane on the right side of the screen</a:t>
            </a: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790730" y="459169"/>
            <a:ext cx="11109321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 &amp; TRICKS - YOUR USER GUIDE</a:t>
            </a:r>
          </a:p>
        </p:txBody>
      </p:sp>
      <p:pic>
        <p:nvPicPr>
          <p:cNvPr id="66" name="Picture 2" descr="C:\Users\MAV~1.SKA\AppData\Local\Temp\SNAGHTMLe48c1e.PNG">
            <a:extLst>
              <a:ext uri="{FF2B5EF4-FFF2-40B4-BE49-F238E27FC236}">
                <a16:creationId xmlns:a16="http://schemas.microsoft.com/office/drawing/2014/main" id="{DAC63350-5850-40BB-87A2-CE01481E05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98223" y="4561358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117030" y="5002523"/>
            <a:ext cx="475428" cy="17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7175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 dirty="0">
                <a:solidFill>
                  <a:schemeClr val="bg1"/>
                </a:solidFill>
              </a:rPr>
              <a:t>If you see any </a:t>
            </a:r>
            <a:r>
              <a:rPr lang="en-GB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4400" b="0" i="0" noProof="0" dirty="0">
                <a:solidFill>
                  <a:schemeClr val="bg1"/>
                </a:solidFill>
              </a:rPr>
              <a:t>one</a:t>
            </a:r>
            <a:r>
              <a:rPr lang="en-GB" sz="4400" b="1" i="1" noProof="0" dirty="0">
                <a:solidFill>
                  <a:schemeClr val="bg1"/>
                </a:solidFill>
              </a:rPr>
              <a:t>,</a:t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en-GB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800" b="0" noProof="0" dirty="0">
                <a:solidFill>
                  <a:schemeClr val="bg1"/>
                </a:solidFill>
              </a:rPr>
            </a:br>
            <a:br>
              <a:rPr lang="en-GB" sz="2800" b="0" noProof="0" dirty="0">
                <a:solidFill>
                  <a:schemeClr val="bg1"/>
                </a:solidFill>
              </a:rPr>
            </a:br>
            <a:endParaRPr lang="en-GB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1" noProof="0" dirty="0">
                <a:solidFill>
                  <a:schemeClr val="bg1"/>
                </a:solidFill>
              </a:rPr>
              <a:t>Do not use </a:t>
            </a:r>
            <a:endParaRPr lang="en-GB" sz="24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en-GB" sz="18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F52A3B9-C46E-47C2-A1FB-F5434525BDF4}" type="datetime4">
              <a:rPr lang="en-GB" smtClean="0"/>
              <a:t>05 September 2023</a:t>
            </a:fld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11130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oak backgrou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FFD127A7-962D-42AA-95EE-BE7697DE2E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638" y="2333233"/>
            <a:ext cx="10623550" cy="1861077"/>
          </a:xfrm>
        </p:spPr>
        <p:txBody>
          <a:bodyPr anchor="ctr" anchorCtr="0"/>
          <a:lstStyle>
            <a:lvl1pPr algn="ctr">
              <a:lnSpc>
                <a:spcPct val="90000"/>
              </a:lnSpc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 on </a:t>
            </a:r>
            <a:br>
              <a:rPr lang="en-US" dirty="0"/>
            </a:br>
            <a:r>
              <a:rPr lang="en-US" dirty="0"/>
              <a:t>max two rows</a:t>
            </a:r>
            <a:endParaRPr lang="en-GB" dirty="0"/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D4130A02-9CAF-430B-94BA-0E080566F3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20913" y="4522577"/>
            <a:ext cx="7745412" cy="7200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21600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D85C6594-A61F-4F9B-8E7A-CB490490C7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8708" y="277629"/>
            <a:ext cx="2851340" cy="612378"/>
          </a:xfrm>
          <a:prstGeom prst="rect">
            <a:avLst/>
          </a:prstGeom>
        </p:spPr>
      </p:pic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image" descr="{&quot;templafy&quot;:{&quot;type&quot;:&quot;image&quot;,&quot;binding&quot;:&quot;Form.InformationClasses.BoxfrontPP&quot;,&quot;inheritDimensions&quot;:&quot;inheritNone&quot;,&quot;width&quot;:&quot;&quot;,&quot;height&quot;:&quot;0.98 cm&quot;,&quot;visibility&quot;:{&quot;action&quot;:&quot;hide&quot;,&quot;compareValue&quot;:&quot;Confidential&quot;,&quot;binding&quot;:&quot;Form.InformationClasses.Term&quot;,&quot;operator&quot;:&quot;notEquals&quot;}}}" title="Form.InformationClasses.BoxfrontPP">
            <a:extLst>
              <a:ext uri="{FF2B5EF4-FFF2-40B4-BE49-F238E27FC236}">
                <a16:creationId xmlns:a16="http://schemas.microsoft.com/office/drawing/2014/main" id="{CC0DE964-AEE9-407D-82D6-93480A0F2369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chemeClr val="bg2"/>
              </a:solidFill>
            </a:endParaRPr>
          </a:p>
        </p:txBody>
      </p:sp>
      <p:sp>
        <p:nvSpPr>
          <p:cNvPr id="15" name="text" descr="{&quot;templafy&quot;:{&quot;type&quot;:&quot;text&quot;,&quot;binding&quot;:&quot;Form.InformationClasses.TermfrontPP&quot;}}" title="Form.InformationClasses.TermfrontPP">
            <a:extLst>
              <a:ext uri="{FF2B5EF4-FFF2-40B4-BE49-F238E27FC236}">
                <a16:creationId xmlns:a16="http://schemas.microsoft.com/office/drawing/2014/main" id="{41C7A057-3F6D-4046-871E-DA7B9B91F87D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rgbClr val="FF5F00"/>
              </a:solidFill>
              <a:latin typeface="Swedbank Headline Bold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40263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">
    <p:bg>
      <p:bgPr>
        <a:solidFill>
          <a:srgbClr val="FAEF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84225" y="481665"/>
            <a:ext cx="10620376" cy="783144"/>
          </a:xfrm>
        </p:spPr>
        <p:txBody>
          <a:bodyPr/>
          <a:lstStyle>
            <a:lvl1pPr>
              <a:defRPr sz="4800">
                <a:solidFill>
                  <a:srgbClr val="FF5E00"/>
                </a:solidFill>
              </a:defRPr>
            </a:lvl1pPr>
          </a:lstStyle>
          <a:p>
            <a:r>
              <a:rPr lang="en-GB" dirty="0"/>
              <a:t>Click to add Agenda heading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84225" y="1763713"/>
            <a:ext cx="10620375" cy="4175125"/>
          </a:xfrm>
        </p:spPr>
        <p:txBody>
          <a:bodyPr numCol="2" spcCol="360000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SzPct val="100000"/>
              <a:buFont typeface="+mj-lt"/>
              <a:buAutoNum type="arabicPeriod"/>
              <a:defRPr sz="3200" b="0">
                <a:solidFill>
                  <a:srgbClr val="FF5E00"/>
                </a:solidFill>
                <a:latin typeface="Swedbank Headline Bold" panose="02000000000000000000" pitchFamily="50" charset="0"/>
              </a:defRPr>
            </a:lvl1pPr>
            <a:lvl2pPr marL="817200" indent="-360000">
              <a:spcBef>
                <a:spcPts val="6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●"/>
              <a:defRPr sz="2400">
                <a:solidFill>
                  <a:schemeClr val="tx2"/>
                </a:solidFill>
                <a:latin typeface="Swedbank Headline Bold" panose="02000000000000000000" pitchFamily="50" charset="0"/>
              </a:defRPr>
            </a:lvl2pPr>
            <a:lvl3pPr marL="1177200" indent="-360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−"/>
              <a:defRPr sz="1800">
                <a:solidFill>
                  <a:schemeClr val="tx2"/>
                </a:solidFill>
                <a:latin typeface="Swedbank Headline Bold" panose="02000000000000000000" pitchFamily="50" charset="0"/>
              </a:defRPr>
            </a:lvl3pPr>
            <a:lvl4pPr marL="1177200" indent="-360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−"/>
              <a:defRPr sz="1800"/>
            </a:lvl4pPr>
            <a:lvl5pPr marL="1177200" indent="-360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−"/>
              <a:defRPr sz="1800"/>
            </a:lvl5pPr>
            <a:lvl6pPr marL="1177200" indent="-360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−"/>
              <a:defRPr sz="1800"/>
            </a:lvl6pPr>
            <a:lvl7pPr marL="1177200" indent="-360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−"/>
              <a:defRPr sz="1800"/>
            </a:lvl7pPr>
            <a:lvl8pPr marL="1177200" indent="-360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−"/>
              <a:defRPr sz="1800"/>
            </a:lvl8pPr>
            <a:lvl9pPr marL="1177200" indent="-360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−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endParaRPr lang="en-GB" dirty="0"/>
          </a:p>
        </p:txBody>
      </p:sp>
      <p:sp>
        <p:nvSpPr>
          <p:cNvPr id="3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4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77702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, back- ground 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6154" cy="6858000"/>
          </a:xfrm>
          <a:solidFill>
            <a:srgbClr val="FF5F00"/>
          </a:solidFill>
        </p:spPr>
        <p:txBody>
          <a:bodyPr tIns="36000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an image: Click here, insert image via Templafy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2F3AD31-345D-4109-B287-41595577EC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782638" y="1763713"/>
            <a:ext cx="10621962" cy="2546858"/>
          </a:xfrm>
          <a:noFill/>
        </p:spPr>
        <p:txBody>
          <a:bodyPr lIns="0" tIns="0" rIns="0" bIns="0" anchor="ctr" anchorCtr="0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60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Add chapter heading or big messag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B913179-DE9C-4BE7-A9F7-5D3728C648B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2220912" y="4724087"/>
            <a:ext cx="7745414" cy="854599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sz="2400" baseline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Insert introduction text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99372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hapter, on background">
    <p:bg>
      <p:bgPr>
        <a:solidFill>
          <a:srgbClr val="FF91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9313D3A0-5532-4D95-A52A-0EA452D20C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82638" y="1763713"/>
            <a:ext cx="10621962" cy="2546858"/>
          </a:xfrm>
          <a:noFill/>
        </p:spPr>
        <p:txBody>
          <a:bodyPr lIns="0" tIns="0" rIns="0" bIns="0" anchor="ctr" anchorCtr="0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60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Add chapter heading or big messag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20914" y="4724087"/>
            <a:ext cx="7745412" cy="854599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sz="2400" baseline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Insert introduction text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47670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hapter, on background">
    <p:bg>
      <p:bgPr>
        <a:solidFill>
          <a:srgbClr val="FDC9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65D7EB4-EF2C-4D4B-BBFA-AD63140C37A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82638" y="1763713"/>
            <a:ext cx="10621962" cy="2546858"/>
          </a:xfrm>
          <a:noFill/>
        </p:spPr>
        <p:txBody>
          <a:bodyPr lIns="0" tIns="0" rIns="0" bIns="0" anchor="ctr" anchorCtr="0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60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Add chapter heading or big messag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20914" y="4724087"/>
            <a:ext cx="7745412" cy="854599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sz="2400" baseline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Insert introduction text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3918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84224" y="481013"/>
            <a:ext cx="10620375" cy="10528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4225" y="1763713"/>
            <a:ext cx="10620375" cy="417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 noProof="0" dirty="0" err="1"/>
              <a:t>Click</a:t>
            </a:r>
            <a:r>
              <a:rPr lang="sv-SE" noProof="0" dirty="0"/>
              <a:t> to </a:t>
            </a:r>
            <a:r>
              <a:rPr lang="sv-SE" noProof="0" dirty="0" err="1"/>
              <a:t>add</a:t>
            </a:r>
            <a:r>
              <a:rPr lang="sv-SE" noProof="0" dirty="0"/>
              <a:t> text</a:t>
            </a:r>
          </a:p>
          <a:p>
            <a:pPr lvl="1"/>
            <a:r>
              <a:rPr lang="sv-SE" noProof="0" dirty="0"/>
              <a:t>Second </a:t>
            </a:r>
            <a:r>
              <a:rPr lang="sv-SE" noProof="0" dirty="0" err="1"/>
              <a:t>level</a:t>
            </a:r>
            <a:endParaRPr lang="sv-SE" noProof="0" dirty="0"/>
          </a:p>
          <a:p>
            <a:pPr lvl="2"/>
            <a:r>
              <a:rPr lang="sv-SE" noProof="0" dirty="0" err="1"/>
              <a:t>Thirdlevel</a:t>
            </a:r>
            <a:endParaRPr lang="sv-SE" noProof="0" dirty="0"/>
          </a:p>
          <a:p>
            <a:pPr lvl="3"/>
            <a:r>
              <a:rPr lang="sv-SE" noProof="0" dirty="0" err="1"/>
              <a:t>Fourthlevel</a:t>
            </a:r>
            <a:endParaRPr lang="sv-SE" noProof="0" dirty="0"/>
          </a:p>
          <a:p>
            <a:pPr lvl="4"/>
            <a:r>
              <a:rPr lang="sv-SE" noProof="0" dirty="0" err="1"/>
              <a:t>Fifthlevel</a:t>
            </a:r>
            <a:endParaRPr lang="sv-SE" noProof="0" dirty="0"/>
          </a:p>
          <a:p>
            <a:pPr lvl="5"/>
            <a:r>
              <a:rPr lang="sv-SE" noProof="0" dirty="0" err="1"/>
              <a:t>Sixthlevel</a:t>
            </a:r>
            <a:endParaRPr lang="sv-SE" noProof="0" dirty="0"/>
          </a:p>
          <a:p>
            <a:pPr lvl="6"/>
            <a:r>
              <a:rPr lang="sv-SE" noProof="0" dirty="0" err="1"/>
              <a:t>Seventhlevel</a:t>
            </a:r>
            <a:endParaRPr lang="sv-SE" noProof="0" dirty="0"/>
          </a:p>
          <a:p>
            <a:pPr lvl="7"/>
            <a:r>
              <a:rPr lang="sv-SE" noProof="0" dirty="0" err="1"/>
              <a:t>Eightlevel</a:t>
            </a:r>
            <a:endParaRPr lang="sv-SE" noProof="0" dirty="0"/>
          </a:p>
          <a:p>
            <a:pPr lvl="8"/>
            <a:r>
              <a:rPr lang="sv-SE" noProof="0" dirty="0" err="1"/>
              <a:t>Highlightninthlevel</a:t>
            </a:r>
            <a:endParaRPr lang="sv-SE" noProof="0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9568800" y="6351405"/>
            <a:ext cx="1835800" cy="24260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4456800" y="6351405"/>
            <a:ext cx="5112000" cy="24241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351405"/>
            <a:ext cx="477736" cy="24241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ruta 11"/>
          <p:cNvSpPr txBox="1"/>
          <p:nvPr userDrawn="1"/>
        </p:nvSpPr>
        <p:spPr>
          <a:xfrm>
            <a:off x="784225" y="6349164"/>
            <a:ext cx="736954" cy="111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800" noProof="1">
                <a:solidFill>
                  <a:schemeClr val="tx1"/>
                </a:solidFill>
                <a:latin typeface="+mn-lt"/>
                <a:cs typeface="Arial" pitchFamily="34" charset="0"/>
              </a:rPr>
              <a:t>© Swedbank</a:t>
            </a:r>
          </a:p>
        </p:txBody>
      </p:sp>
      <p:sp>
        <p:nvSpPr>
          <p:cNvPr id="7" name="text" descr="{&quot;templafy&quot;:{&quot;type&quot;:&quot;text&quot;,&quot;binding&quot;:&quot;Form.InformationClasses.TermInsertPP&quot;}}" title="Form.InformationClasses.TermInsertPP">
            <a:extLst>
              <a:ext uri="{FF2B5EF4-FFF2-40B4-BE49-F238E27FC236}">
                <a16:creationId xmlns:a16="http://schemas.microsoft.com/office/drawing/2014/main" id="{0FD95293-F372-4D75-BB81-E08E19CD07FC}"/>
              </a:ext>
            </a:extLst>
          </p:cNvPr>
          <p:cNvSpPr/>
          <p:nvPr userDrawn="1"/>
        </p:nvSpPr>
        <p:spPr>
          <a:xfrm>
            <a:off x="1825426" y="6347757"/>
            <a:ext cx="936000" cy="248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80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7" name="text" descr="{&quot;templafy&quot;:{&quot;type&quot;:&quot;text&quot;,&quot;binding&quot;:&quot;Form.InformationClasses.RestrictedAccess&quot;}}" title="Form.InformationClasses.RestrictedAccess">
            <a:extLst>
              <a:ext uri="{FF2B5EF4-FFF2-40B4-BE49-F238E27FC236}">
                <a16:creationId xmlns:a16="http://schemas.microsoft.com/office/drawing/2014/main" id="{A050AA09-60F8-480D-8500-001BC7EC54C3}"/>
              </a:ext>
            </a:extLst>
          </p:cNvPr>
          <p:cNvSpPr/>
          <p:nvPr userDrawn="1"/>
        </p:nvSpPr>
        <p:spPr>
          <a:xfrm>
            <a:off x="3054122" y="6348662"/>
            <a:ext cx="1018800" cy="12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spAutoFit/>
          </a:bodyPr>
          <a:lstStyle/>
          <a:p>
            <a:pPr algn="l">
              <a:spcBef>
                <a:spcPts val="600"/>
              </a:spcBef>
            </a:pPr>
            <a:endParaRPr lang="en-GB" sz="800" noProof="0" dirty="0">
              <a:solidFill>
                <a:schemeClr val="tx1"/>
              </a:solidFill>
            </a:endParaRPr>
          </a:p>
        </p:txBody>
      </p:sp>
      <p:sp>
        <p:nvSpPr>
          <p:cNvPr id="18" name="text" descr="{&quot;templafy&quot;:{&quot;type&quot;:&quot;text&quot;,&quot;binding&quot;:&quot;Form.RestrictedAccess&quot;,&quot;visibility&quot;:{&quot;action&quot;:&quot;hide&quot;,&quot;compareValue&quot;:&quot;Confidential&quot;,&quot;binding&quot;:&quot;Form.InformationClasses.Term&quot;,&quot;operator&quot;:&quot;notEquals&quot;}}}" title="Form.RestrictedAccess">
            <a:extLst>
              <a:ext uri="{FF2B5EF4-FFF2-40B4-BE49-F238E27FC236}">
                <a16:creationId xmlns:a16="http://schemas.microsoft.com/office/drawing/2014/main" id="{AEFDC734-1AF9-48F3-85B4-AEFBC795A4F2}"/>
              </a:ext>
            </a:extLst>
          </p:cNvPr>
          <p:cNvSpPr/>
          <p:nvPr userDrawn="1"/>
        </p:nvSpPr>
        <p:spPr>
          <a:xfrm>
            <a:off x="3054122" y="6472800"/>
            <a:ext cx="633600" cy="12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spAutoFit/>
          </a:bodyPr>
          <a:lstStyle/>
          <a:p>
            <a:pPr algn="l">
              <a:spcBef>
                <a:spcPts val="600"/>
              </a:spcBef>
            </a:pPr>
            <a:endParaRPr lang="fr-FR" sz="800" noProof="0" dirty="0">
              <a:solidFill>
                <a:schemeClr val="tx1"/>
              </a:solidFill>
            </a:endParaRPr>
          </a:p>
        </p:txBody>
      </p:sp>
      <p:grpSp>
        <p:nvGrpSpPr>
          <p:cNvPr id="20" name="Gruppe 19" hidden="1">
            <a:extLst>
              <a:ext uri="{FF2B5EF4-FFF2-40B4-BE49-F238E27FC236}">
                <a16:creationId xmlns:a16="http://schemas.microsoft.com/office/drawing/2014/main" id="{2FFC823C-ED16-4EEC-8C27-104A6720A009}"/>
              </a:ext>
            </a:extLst>
          </p:cNvPr>
          <p:cNvGrpSpPr/>
          <p:nvPr userDrawn="1"/>
        </p:nvGrpSpPr>
        <p:grpSpPr>
          <a:xfrm>
            <a:off x="180975" y="0"/>
            <a:ext cx="11830049" cy="898525"/>
            <a:chOff x="180975" y="0"/>
            <a:chExt cx="11830049" cy="898525"/>
          </a:xfrm>
        </p:grpSpPr>
        <p:sp>
          <p:nvSpPr>
            <p:cNvPr id="21" name="Rektangel 20">
              <a:extLst>
                <a:ext uri="{FF2B5EF4-FFF2-40B4-BE49-F238E27FC236}">
                  <a16:creationId xmlns:a16="http://schemas.microsoft.com/office/drawing/2014/main" id="{E04435E2-CE85-4FAE-9DE7-2E3179E249BE}"/>
                </a:ext>
              </a:extLst>
            </p:cNvPr>
            <p:cNvSpPr/>
            <p:nvPr userDrawn="1"/>
          </p:nvSpPr>
          <p:spPr>
            <a:xfrm>
              <a:off x="180975" y="0"/>
              <a:ext cx="603250" cy="8985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GB" sz="2000" noProof="0" dirty="0" err="1"/>
            </a:p>
          </p:txBody>
        </p:sp>
        <p:sp>
          <p:nvSpPr>
            <p:cNvPr id="22" name="Rektangel 21">
              <a:extLst>
                <a:ext uri="{FF2B5EF4-FFF2-40B4-BE49-F238E27FC236}">
                  <a16:creationId xmlns:a16="http://schemas.microsoft.com/office/drawing/2014/main" id="{C171F185-263B-4CF9-ABDA-AAA68FF5A05D}"/>
                </a:ext>
              </a:extLst>
            </p:cNvPr>
            <p:cNvSpPr/>
            <p:nvPr userDrawn="1"/>
          </p:nvSpPr>
          <p:spPr>
            <a:xfrm>
              <a:off x="2221118" y="0"/>
              <a:ext cx="398257" cy="8985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GB" sz="2000" noProof="0" dirty="0" err="1"/>
            </a:p>
          </p:txBody>
        </p:sp>
        <p:sp>
          <p:nvSpPr>
            <p:cNvPr id="23" name="Rektangel 22">
              <a:extLst>
                <a:ext uri="{FF2B5EF4-FFF2-40B4-BE49-F238E27FC236}">
                  <a16:creationId xmlns:a16="http://schemas.microsoft.com/office/drawing/2014/main" id="{2D51E9C8-53BB-4A9C-9B0F-9B63EFB127C4}"/>
                </a:ext>
              </a:extLst>
            </p:cNvPr>
            <p:cNvSpPr/>
            <p:nvPr userDrawn="1"/>
          </p:nvSpPr>
          <p:spPr>
            <a:xfrm>
              <a:off x="4059238" y="0"/>
              <a:ext cx="392113" cy="8985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GB" sz="2000" noProof="0" dirty="0" err="1"/>
            </a:p>
          </p:txBody>
        </p:sp>
        <p:sp>
          <p:nvSpPr>
            <p:cNvPr id="24" name="Rektangel 23">
              <a:extLst>
                <a:ext uri="{FF2B5EF4-FFF2-40B4-BE49-F238E27FC236}">
                  <a16:creationId xmlns:a16="http://schemas.microsoft.com/office/drawing/2014/main" id="{3499B2BA-3C5E-4416-959A-153A344D3CDE}"/>
                </a:ext>
              </a:extLst>
            </p:cNvPr>
            <p:cNvSpPr/>
            <p:nvPr userDrawn="1"/>
          </p:nvSpPr>
          <p:spPr>
            <a:xfrm>
              <a:off x="5899152" y="0"/>
              <a:ext cx="392112" cy="8985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GB" sz="2000" noProof="0" dirty="0" err="1"/>
            </a:p>
          </p:txBody>
        </p:sp>
        <p:sp>
          <p:nvSpPr>
            <p:cNvPr id="25" name="Rektangel 24">
              <a:extLst>
                <a:ext uri="{FF2B5EF4-FFF2-40B4-BE49-F238E27FC236}">
                  <a16:creationId xmlns:a16="http://schemas.microsoft.com/office/drawing/2014/main" id="{DC597ABD-5988-4519-B53C-5FE947062683}"/>
                </a:ext>
              </a:extLst>
            </p:cNvPr>
            <p:cNvSpPr/>
            <p:nvPr userDrawn="1"/>
          </p:nvSpPr>
          <p:spPr>
            <a:xfrm>
              <a:off x="7735919" y="0"/>
              <a:ext cx="392112" cy="8985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GB" sz="2000" noProof="0" dirty="0" err="1"/>
            </a:p>
          </p:txBody>
        </p:sp>
        <p:sp>
          <p:nvSpPr>
            <p:cNvPr id="27" name="Rektangel 26">
              <a:extLst>
                <a:ext uri="{FF2B5EF4-FFF2-40B4-BE49-F238E27FC236}">
                  <a16:creationId xmlns:a16="http://schemas.microsoft.com/office/drawing/2014/main" id="{EDB7B368-55C1-45E2-98A6-B3F0928B3296}"/>
                </a:ext>
              </a:extLst>
            </p:cNvPr>
            <p:cNvSpPr/>
            <p:nvPr userDrawn="1"/>
          </p:nvSpPr>
          <p:spPr>
            <a:xfrm>
              <a:off x="9567863" y="0"/>
              <a:ext cx="396936" cy="8985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GB" sz="2000" noProof="0" dirty="0" err="1"/>
            </a:p>
          </p:txBody>
        </p:sp>
        <p:sp>
          <p:nvSpPr>
            <p:cNvPr id="28" name="Rektangel 27">
              <a:extLst>
                <a:ext uri="{FF2B5EF4-FFF2-40B4-BE49-F238E27FC236}">
                  <a16:creationId xmlns:a16="http://schemas.microsoft.com/office/drawing/2014/main" id="{1152BFE6-F5BF-4766-B6B1-E2CF5591A009}"/>
                </a:ext>
              </a:extLst>
            </p:cNvPr>
            <p:cNvSpPr/>
            <p:nvPr userDrawn="1"/>
          </p:nvSpPr>
          <p:spPr>
            <a:xfrm>
              <a:off x="11405249" y="0"/>
              <a:ext cx="605775" cy="8985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GB" sz="2000" noProof="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750" r:id="rId2"/>
    <p:sldLayoutId id="2147483829" r:id="rId3"/>
    <p:sldLayoutId id="2147483823" r:id="rId4"/>
    <p:sldLayoutId id="2147483753" r:id="rId5"/>
    <p:sldLayoutId id="2147483771" r:id="rId6"/>
    <p:sldLayoutId id="2147483725" r:id="rId7"/>
    <p:sldLayoutId id="2147483762" r:id="rId8"/>
    <p:sldLayoutId id="2147483763" r:id="rId9"/>
    <p:sldLayoutId id="2147483759" r:id="rId10"/>
    <p:sldLayoutId id="2147483761" r:id="rId11"/>
    <p:sldLayoutId id="2147483765" r:id="rId12"/>
    <p:sldLayoutId id="2147483777" r:id="rId13"/>
    <p:sldLayoutId id="2147483841" r:id="rId14"/>
    <p:sldLayoutId id="2147483721" r:id="rId15"/>
    <p:sldLayoutId id="2147483730" r:id="rId16"/>
    <p:sldLayoutId id="2147483822" r:id="rId17"/>
    <p:sldLayoutId id="2147483743" r:id="rId18"/>
    <p:sldLayoutId id="2147483742" r:id="rId19"/>
    <p:sldLayoutId id="2147483772" r:id="rId20"/>
    <p:sldLayoutId id="2147483816" r:id="rId21"/>
    <p:sldLayoutId id="2147483652" r:id="rId22"/>
    <p:sldLayoutId id="2147483832" r:id="rId23"/>
    <p:sldLayoutId id="2147483833" r:id="rId24"/>
    <p:sldLayoutId id="2147483834" r:id="rId25"/>
    <p:sldLayoutId id="2147483811" r:id="rId26"/>
    <p:sldLayoutId id="2147483835" r:id="rId27"/>
    <p:sldLayoutId id="2147483836" r:id="rId28"/>
    <p:sldLayoutId id="2147483814" r:id="rId29"/>
    <p:sldLayoutId id="2147483837" r:id="rId30"/>
    <p:sldLayoutId id="2147483838" r:id="rId31"/>
    <p:sldLayoutId id="2147483733" r:id="rId32"/>
    <p:sldLayoutId id="2147483745" r:id="rId33"/>
    <p:sldLayoutId id="2147483827" r:id="rId34"/>
    <p:sldLayoutId id="2147483790" r:id="rId35"/>
    <p:sldLayoutId id="2147483839" r:id="rId36"/>
    <p:sldLayoutId id="2147483840" r:id="rId37"/>
    <p:sldLayoutId id="2147483660" r:id="rId38"/>
    <p:sldLayoutId id="2147483819" r:id="rId39"/>
    <p:sldLayoutId id="2147483808" r:id="rId40"/>
    <p:sldLayoutId id="2147483820" r:id="rId41"/>
    <p:sldLayoutId id="2147483804" r:id="rId42"/>
    <p:sldLayoutId id="2147483824" r:id="rId43"/>
    <p:sldLayoutId id="2147483749" r:id="rId44"/>
    <p:sldLayoutId id="2147483828" r:id="rId4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FF5F00"/>
          </a:solidFill>
          <a:latin typeface="+mj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00000"/>
        </a:lnSpc>
        <a:spcBef>
          <a:spcPts val="800"/>
        </a:spcBef>
        <a:buClr>
          <a:srgbClr val="FF5F00"/>
        </a:buClr>
        <a:buFont typeface="Arial" panose="020B0604020202020204" pitchFamily="34" charset="0"/>
        <a:buChar char="●"/>
        <a:defRPr sz="2200" kern="1200">
          <a:solidFill>
            <a:schemeClr val="tx2"/>
          </a:solidFill>
          <a:latin typeface="+mn-lt"/>
          <a:ea typeface="+mn-ea"/>
          <a:cs typeface="+mn-cs"/>
        </a:defRPr>
      </a:lvl1pPr>
      <a:lvl2pPr marL="525600" indent="-234000" algn="l" defTabSz="914400" rtl="0" eaLnBrk="1" latinLnBrk="0" hangingPunct="1">
        <a:lnSpc>
          <a:spcPct val="100000"/>
        </a:lnSpc>
        <a:spcBef>
          <a:spcPts val="800"/>
        </a:spcBef>
        <a:buClr>
          <a:srgbClr val="FF5F00"/>
        </a:buClr>
        <a:buFont typeface="Arial" panose="020B0604020202020204" pitchFamily="34" charset="0"/>
        <a:buChar char="–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705600" indent="-180000" algn="l" defTabSz="914400" rtl="0" eaLnBrk="1" latinLnBrk="0" hangingPunct="1">
        <a:lnSpc>
          <a:spcPct val="100000"/>
        </a:lnSpc>
        <a:spcBef>
          <a:spcPts val="800"/>
        </a:spcBef>
        <a:buClr>
          <a:srgbClr val="FF5F00"/>
        </a:buClr>
        <a:buFont typeface="Arial" panose="020B0604020202020204" pitchFamily="34" charset="0"/>
        <a:buChar char="●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885600" indent="-180000" algn="l" defTabSz="914400" rtl="0" eaLnBrk="1" latinLnBrk="0" hangingPunct="1">
        <a:lnSpc>
          <a:spcPct val="100000"/>
        </a:lnSpc>
        <a:spcBef>
          <a:spcPts val="800"/>
        </a:spcBef>
        <a:buClr>
          <a:srgbClr val="FF5F00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065600" indent="-180000" algn="l" defTabSz="914400" rtl="0" eaLnBrk="1" latinLnBrk="0" hangingPunct="1">
        <a:lnSpc>
          <a:spcPct val="100000"/>
        </a:lnSpc>
        <a:spcBef>
          <a:spcPts val="800"/>
        </a:spcBef>
        <a:buClr>
          <a:srgbClr val="FF5F00"/>
        </a:buClr>
        <a:buFont typeface="Arial" panose="020B0604020202020204" pitchFamily="34" charset="0"/>
        <a:buChar char="●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1245600" indent="-179388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−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4256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●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256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●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​"/>
        <a:defRPr sz="2400" kern="1200" baseline="0">
          <a:solidFill>
            <a:srgbClr val="FF5F00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14" userDrawn="1">
          <p15:clr>
            <a:srgbClr val="F26B43"/>
          </p15:clr>
        </p15:guide>
        <p15:guide id="16" pos="7565" userDrawn="1">
          <p15:clr>
            <a:srgbClr val="F26B43"/>
          </p15:clr>
        </p15:guide>
        <p15:guide id="18" orient="horz" pos="303" userDrawn="1">
          <p15:clr>
            <a:srgbClr val="F26B43"/>
          </p15:clr>
        </p15:guide>
        <p15:guide id="19" orient="horz" pos="966" userDrawn="1">
          <p15:clr>
            <a:srgbClr val="F26B43"/>
          </p15:clr>
        </p15:guide>
        <p15:guide id="21" pos="7185" userDrawn="1">
          <p15:clr>
            <a:srgbClr val="F26B43"/>
          </p15:clr>
        </p15:guide>
        <p15:guide id="22" orient="horz" pos="1111" userDrawn="1">
          <p15:clr>
            <a:srgbClr val="F26B43"/>
          </p15:clr>
        </p15:guide>
        <p15:guide id="23" orient="horz" pos="3741" userDrawn="1">
          <p15:clr>
            <a:srgbClr val="F26B43"/>
          </p15:clr>
        </p15:guide>
        <p15:guide id="24" pos="494" userDrawn="1">
          <p15:clr>
            <a:srgbClr val="F26B43"/>
          </p15:clr>
        </p15:guide>
        <p15:guide id="25" pos="1401" userDrawn="1">
          <p15:clr>
            <a:srgbClr val="F26B43"/>
          </p15:clr>
        </p15:guide>
        <p15:guide id="26" pos="1650" userDrawn="1">
          <p15:clr>
            <a:srgbClr val="F26B43"/>
          </p15:clr>
        </p15:guide>
        <p15:guide id="27" pos="2557" userDrawn="1">
          <p15:clr>
            <a:srgbClr val="F26B43"/>
          </p15:clr>
        </p15:guide>
        <p15:guide id="28" pos="2807" userDrawn="1">
          <p15:clr>
            <a:srgbClr val="F26B43"/>
          </p15:clr>
        </p15:guide>
        <p15:guide id="29" pos="3714" userDrawn="1">
          <p15:clr>
            <a:srgbClr val="F26B43"/>
          </p15:clr>
        </p15:guide>
        <p15:guide id="30" pos="3963" userDrawn="1">
          <p15:clr>
            <a:srgbClr val="F26B43"/>
          </p15:clr>
        </p15:guide>
        <p15:guide id="31" pos="4871" userDrawn="1">
          <p15:clr>
            <a:srgbClr val="F26B43"/>
          </p15:clr>
        </p15:guide>
        <p15:guide id="32" pos="5120" userDrawn="1">
          <p15:clr>
            <a:srgbClr val="F26B43"/>
          </p15:clr>
        </p15:guide>
        <p15:guide id="33" pos="6027" userDrawn="1">
          <p15:clr>
            <a:srgbClr val="F26B43"/>
          </p15:clr>
        </p15:guide>
        <p15:guide id="34" pos="627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slideLayout" Target="../slideLayouts/slideLayout16.xml"/><Relationship Id="rId7" Type="http://schemas.openxmlformats.org/officeDocument/2006/relationships/diagramColors" Target="../diagrams/colors1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14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chart" Target="../charts/chart2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.xml"/><Relationship Id="rId6" Type="http://schemas.openxmlformats.org/officeDocument/2006/relationships/chart" Target="../charts/chart1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4.svg"/><Relationship Id="rId12" Type="http://schemas.openxmlformats.org/officeDocument/2006/relationships/image" Target="../media/image29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2.xml"/><Relationship Id="rId6" Type="http://schemas.openxmlformats.org/officeDocument/2006/relationships/image" Target="../media/image23.png"/><Relationship Id="rId11" Type="http://schemas.openxmlformats.org/officeDocument/2006/relationships/image" Target="../media/image28.svg"/><Relationship Id="rId5" Type="http://schemas.openxmlformats.org/officeDocument/2006/relationships/image" Target="../media/image22.emf"/><Relationship Id="rId10" Type="http://schemas.openxmlformats.org/officeDocument/2006/relationships/image" Target="../media/image27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26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svg"/><Relationship Id="rId18" Type="http://schemas.openxmlformats.org/officeDocument/2006/relationships/image" Target="../media/image43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34.svg"/><Relationship Id="rId12" Type="http://schemas.openxmlformats.org/officeDocument/2006/relationships/image" Target="../media/image39.png"/><Relationship Id="rId17" Type="http://schemas.openxmlformats.org/officeDocument/2006/relationships/image" Target="../media/image42.svg"/><Relationship Id="rId2" Type="http://schemas.openxmlformats.org/officeDocument/2006/relationships/customXml" Target="../../customXml/item17.xml"/><Relationship Id="rId16" Type="http://schemas.openxmlformats.org/officeDocument/2006/relationships/image" Target="../media/image41.png"/><Relationship Id="rId1" Type="http://schemas.openxmlformats.org/officeDocument/2006/relationships/customXml" Target="../../customXml/item5.xml"/><Relationship Id="rId6" Type="http://schemas.openxmlformats.org/officeDocument/2006/relationships/image" Target="../media/image33.png"/><Relationship Id="rId11" Type="http://schemas.openxmlformats.org/officeDocument/2006/relationships/image" Target="../media/image38.svg"/><Relationship Id="rId5" Type="http://schemas.openxmlformats.org/officeDocument/2006/relationships/image" Target="../media/image32.svg"/><Relationship Id="rId15" Type="http://schemas.openxmlformats.org/officeDocument/2006/relationships/image" Target="../media/image28.svg"/><Relationship Id="rId10" Type="http://schemas.openxmlformats.org/officeDocument/2006/relationships/image" Target="../media/image37.png"/><Relationship Id="rId19" Type="http://schemas.openxmlformats.org/officeDocument/2006/relationships/image" Target="../media/image44.svg"/><Relationship Id="rId4" Type="http://schemas.openxmlformats.org/officeDocument/2006/relationships/image" Target="../media/image31.png"/><Relationship Id="rId9" Type="http://schemas.openxmlformats.org/officeDocument/2006/relationships/image" Target="../media/image36.svg"/><Relationship Id="rId1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18A1D0-7117-4077-9951-8DE5F1EC5F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4225" y="1937762"/>
            <a:ext cx="10623550" cy="1861077"/>
          </a:xfrm>
        </p:spPr>
        <p:txBody>
          <a:bodyPr/>
          <a:lstStyle/>
          <a:p>
            <a:r>
              <a:rPr lang="lt-LT" sz="5200" b="0">
                <a:latin typeface="Arial" panose="020B0604020202020204" pitchFamily="34" charset="0"/>
                <a:cs typeface="Arial" panose="020B0604020202020204" pitchFamily="34" charset="0"/>
              </a:rPr>
              <a:t>Personalo srities tendencijos: technologijos „kartu su“ ar „prieš“ žmogiškumą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DC38C4-0108-442F-97A8-F343C2B680C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08921" y="4492855"/>
            <a:ext cx="8507895" cy="720000"/>
          </a:xfrm>
        </p:spPr>
        <p:txBody>
          <a:bodyPr>
            <a:noAutofit/>
          </a:bodyPr>
          <a:lstStyle/>
          <a:p>
            <a:r>
              <a:rPr lang="en-GB" sz="2200" dirty="0" err="1">
                <a:latin typeface="Arial" panose="020B0604020202020204" pitchFamily="34" charset="0"/>
                <a:cs typeface="Arial" panose="020B0604020202020204" pitchFamily="34" charset="0"/>
              </a:rPr>
              <a:t>Agn</a:t>
            </a:r>
            <a:r>
              <a:rPr lang="lt-LT" sz="2200" dirty="0">
                <a:latin typeface="Arial" panose="020B0604020202020204" pitchFamily="34" charset="0"/>
                <a:cs typeface="Arial" panose="020B0604020202020204" pitchFamily="34" charset="0"/>
              </a:rPr>
              <a:t>ė Jonaitytė-Karalienė</a:t>
            </a:r>
          </a:p>
          <a:p>
            <a:r>
              <a:rPr lang="lt-LT" sz="2200" dirty="0">
                <a:latin typeface="Arial" panose="020B0604020202020204" pitchFamily="34" charset="0"/>
                <a:cs typeface="Arial" panose="020B0604020202020204" pitchFamily="34" charset="0"/>
              </a:rPr>
              <a:t>Personalo ir infrastruktūros tarnybos vadovė „Swedbank“</a:t>
            </a:r>
            <a:endParaRPr lang="en-GB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99A806-1970-4378-982E-C6F284AE2A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052303-9206-4082-9857-0A4D82953B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D67D2B-78AB-4AF3-B874-811B1D94AC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</a:t>
            </a:fld>
            <a:endParaRPr lang="en-GB" dirty="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8639278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C85C5C-8C13-7534-E49D-45C852F02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5685" y="481665"/>
            <a:ext cx="10620375" cy="1052240"/>
          </a:xfrm>
        </p:spPr>
        <p:txBody>
          <a:bodyPr/>
          <a:lstStyle/>
          <a:p>
            <a:r>
              <a:rPr lang="lt-LT" b="0" dirty="0">
                <a:latin typeface="Arial" panose="020B0604020202020204" pitchFamily="34" charset="0"/>
                <a:cs typeface="Arial" panose="020B0604020202020204" pitchFamily="34" charset="0"/>
              </a:rPr>
              <a:t>Idėjos kurti tvariai HR vadovo ateičiai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6619C168-6FFE-6E39-BC07-B7791CD566E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07875461"/>
              </p:ext>
            </p:extLst>
          </p:nvPr>
        </p:nvGraphicFramePr>
        <p:xfrm>
          <a:off x="545685" y="1533905"/>
          <a:ext cx="11094380" cy="44049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2BCA97-1929-5D06-EBE1-50D6054B84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2BA9B7-8F15-0EDC-298E-C22D3613F3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2A965A-CC60-4A09-1A4B-FAE539BC2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10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44509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7F1858DC-A6F9-406E-9091-ED7A1CCCBF9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F18D4B95-78F8-4BCF-A3F7-19F057AEDBF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395A9CFA-1E85-459E-9EE1-C893CB24D92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DC06EB2B-A8D8-4DC0-AF91-3D53F1D8BF0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47453F4F-879C-47BC-8E03-580731BCCAB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3D5084C9-8FA2-4811-ABE9-78DEB9B94F6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A905C30E-D0AD-466F-AA33-DBAA960E98D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6E52CAE4-574B-4035-80AE-3B52872B25E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Sub>
          <a:bldDgm bld="one"/>
        </p:bldSub>
      </p:bldGraphic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9F3F0ED-A978-BA50-1F99-AC5A5B2153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912E70-52E9-651B-FDFE-1B61FFF127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224BD-CC5C-9563-1A5B-789A1EF34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35081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F299893-B3DD-4B09-B53B-0378F0AA5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989" y="481665"/>
            <a:ext cx="10620375" cy="1052240"/>
          </a:xfrm>
        </p:spPr>
        <p:txBody>
          <a:bodyPr/>
          <a:lstStyle/>
          <a:p>
            <a:r>
              <a:rPr lang="lt-LT" b="0" dirty="0">
                <a:latin typeface="Arial" panose="020B0604020202020204" pitchFamily="34" charset="0"/>
                <a:cs typeface="Arial" panose="020B0604020202020204" pitchFamily="34" charset="0"/>
              </a:rPr>
              <a:t>HR </a:t>
            </a:r>
            <a:r>
              <a:rPr lang="lt-LT" b="0" dirty="0" err="1">
                <a:latin typeface="Arial" panose="020B0604020202020204" pitchFamily="34" charset="0"/>
                <a:cs typeface="Arial" panose="020B0604020202020204" pitchFamily="34" charset="0"/>
              </a:rPr>
              <a:t>tech</a:t>
            </a:r>
            <a:r>
              <a:rPr lang="lt-LT" b="0" dirty="0">
                <a:latin typeface="Arial" panose="020B0604020202020204" pitchFamily="34" charset="0"/>
                <a:cs typeface="Arial" panose="020B0604020202020204" pitchFamily="34" charset="0"/>
              </a:rPr>
              <a:t> sprendimai 2023: </a:t>
            </a:r>
            <a:br>
              <a:rPr lang="lt-LT" b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lt-LT" b="0" dirty="0">
                <a:latin typeface="Arial" panose="020B0604020202020204" pitchFamily="34" charset="0"/>
                <a:cs typeface="Arial" panose="020B0604020202020204" pitchFamily="34" charset="0"/>
              </a:rPr>
              <a:t>ar jie eliminuoja HR žmogaus įsitraukimo poreikį? </a:t>
            </a:r>
            <a:endParaRPr lang="lt-L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D3C622-A361-4DA1-B12F-4E2C556CB8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1E649D-2438-485B-AB2C-2FACBB2C4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4495CC-7DA5-4DA1-8C13-07BFB03B90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2</a:t>
            </a:fld>
            <a:endParaRPr lang="en-GB" dirty="0"/>
          </a:p>
        </p:txBody>
      </p:sp>
      <p:graphicFrame>
        <p:nvGraphicFramePr>
          <p:cNvPr id="5" name="Content Placeholder 6">
            <a:extLst>
              <a:ext uri="{FF2B5EF4-FFF2-40B4-BE49-F238E27FC236}">
                <a16:creationId xmlns:a16="http://schemas.microsoft.com/office/drawing/2014/main" id="{A227565D-A6F5-DA3E-B6E5-5FF12378600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89573243"/>
              </p:ext>
            </p:extLst>
          </p:nvPr>
        </p:nvGraphicFramePr>
        <p:xfrm>
          <a:off x="495989" y="1763713"/>
          <a:ext cx="11181146" cy="41751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2875629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2C0D2C-D17A-0ED1-2577-D32745DDC78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60408" y="1763713"/>
            <a:ext cx="5035807" cy="41751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lt-LT" b="1" dirty="0">
                <a:solidFill>
                  <a:srgbClr val="FF5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u dabar:</a:t>
            </a:r>
          </a:p>
          <a:p>
            <a:r>
              <a:rPr lang="lt-LT" dirty="0">
                <a:latin typeface="Arial" panose="020B0604020202020204" pitchFamily="34" charset="0"/>
                <a:cs typeface="Arial" panose="020B0604020202020204" pitchFamily="34" charset="0"/>
              </a:rPr>
              <a:t>HR </a:t>
            </a:r>
            <a:r>
              <a:rPr lang="lt-LT" dirty="0" err="1">
                <a:latin typeface="Arial" panose="020B0604020202020204" pitchFamily="34" charset="0"/>
                <a:cs typeface="Arial" panose="020B0604020202020204" pitchFamily="34" charset="0"/>
              </a:rPr>
              <a:t>helpdesk‘as</a:t>
            </a:r>
            <a:endParaRPr lang="lt-LT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lt-LT" dirty="0">
                <a:latin typeface="Arial" panose="020B0604020202020204" pitchFamily="34" charset="0"/>
                <a:cs typeface="Arial" panose="020B0604020202020204" pitchFamily="34" charset="0"/>
              </a:rPr>
              <a:t>Sistemų testuotojas</a:t>
            </a:r>
          </a:p>
          <a:p>
            <a:r>
              <a:rPr lang="lt-LT" dirty="0">
                <a:latin typeface="Arial" panose="020B0604020202020204" pitchFamily="34" charset="0"/>
                <a:cs typeface="Arial" panose="020B0604020202020204" pitchFamily="34" charset="0"/>
              </a:rPr>
              <a:t>Talentų paieškos specialistas</a:t>
            </a:r>
          </a:p>
          <a:p>
            <a:r>
              <a:rPr lang="lt-LT" dirty="0">
                <a:latin typeface="Arial" panose="020B0604020202020204" pitchFamily="34" charset="0"/>
                <a:cs typeface="Arial" panose="020B0604020202020204" pitchFamily="34" charset="0"/>
              </a:rPr>
              <a:t>Mokymosi veiklų administratorius</a:t>
            </a:r>
          </a:p>
          <a:p>
            <a:r>
              <a:rPr lang="lt-LT" dirty="0">
                <a:latin typeface="Arial" panose="020B0604020202020204" pitchFamily="34" charset="0"/>
                <a:cs typeface="Arial" panose="020B0604020202020204" pitchFamily="34" charset="0"/>
              </a:rPr>
              <a:t>HR administratorius</a:t>
            </a:r>
          </a:p>
          <a:p>
            <a:r>
              <a:rPr lang="lt-LT" dirty="0">
                <a:latin typeface="Arial" panose="020B0604020202020204" pitchFamily="34" charset="0"/>
                <a:cs typeface="Arial" panose="020B0604020202020204" pitchFamily="34" charset="0"/>
              </a:rPr>
              <a:t>Atlygio specialistas</a:t>
            </a:r>
          </a:p>
          <a:p>
            <a:r>
              <a:rPr lang="lt-LT" dirty="0">
                <a:latin typeface="Arial" panose="020B0604020202020204" pitchFamily="34" charset="0"/>
                <a:cs typeface="Arial" panose="020B0604020202020204" pitchFamily="34" charset="0"/>
              </a:rPr>
              <a:t>Atlygio vadovas</a:t>
            </a:r>
          </a:p>
          <a:p>
            <a:r>
              <a:rPr lang="lt-LT" dirty="0">
                <a:latin typeface="Arial" panose="020B0604020202020204" pitchFamily="34" charset="0"/>
                <a:cs typeface="Arial" panose="020B0604020202020204" pitchFamily="34" charset="0"/>
              </a:rPr>
              <a:t>Įvairovės ir </a:t>
            </a:r>
            <a:r>
              <a:rPr lang="lt-LT" dirty="0" err="1">
                <a:latin typeface="Arial" panose="020B0604020202020204" pitchFamily="34" charset="0"/>
                <a:cs typeface="Arial" panose="020B0604020202020204" pitchFamily="34" charset="0"/>
              </a:rPr>
              <a:t>įtraukties</a:t>
            </a:r>
            <a:r>
              <a:rPr lang="lt-LT" dirty="0">
                <a:latin typeface="Arial" panose="020B0604020202020204" pitchFamily="34" charset="0"/>
                <a:cs typeface="Arial" panose="020B0604020202020204" pitchFamily="34" charset="0"/>
              </a:rPr>
              <a:t> konsultanta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049F53D-2A54-31CA-FBE8-272C5EEEE6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31891" y="1763713"/>
            <a:ext cx="3372709" cy="41751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lt-LT" b="1" dirty="0">
                <a:solidFill>
                  <a:srgbClr val="FF5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bulėjant dirbtiniam intelektui: </a:t>
            </a:r>
          </a:p>
          <a:p>
            <a:r>
              <a:rPr lang="lt-LT" dirty="0">
                <a:latin typeface="Arial" panose="020B0604020202020204" pitchFamily="34" charset="0"/>
                <a:cs typeface="Arial" panose="020B0604020202020204" pitchFamily="34" charset="0"/>
              </a:rPr>
              <a:t>„Galvų medžioklės“ specialistas</a:t>
            </a:r>
          </a:p>
          <a:p>
            <a:r>
              <a:rPr lang="lt-LT" dirty="0">
                <a:latin typeface="Arial" panose="020B0604020202020204" pitchFamily="34" charset="0"/>
                <a:cs typeface="Arial" panose="020B0604020202020204" pitchFamily="34" charset="0"/>
              </a:rPr>
              <a:t>Atrankų specialistas</a:t>
            </a:r>
          </a:p>
          <a:p>
            <a:r>
              <a:rPr lang="lt-LT" dirty="0">
                <a:latin typeface="Arial" panose="020B0604020202020204" pitchFamily="34" charset="0"/>
                <a:cs typeface="Arial" panose="020B0604020202020204" pitchFamily="34" charset="0"/>
              </a:rPr>
              <a:t>HR partneris</a:t>
            </a:r>
          </a:p>
          <a:p>
            <a:endParaRPr lang="lt-L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AD1426A4-BDA3-DDD6-B581-852628B2D1C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68800" y="6351405"/>
            <a:ext cx="1835800" cy="242607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98FC3BA3-5639-C8E0-7D0A-E57BCDC44F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302339" y="5926228"/>
            <a:ext cx="5112000" cy="242418"/>
          </a:xfrm>
        </p:spPr>
        <p:txBody>
          <a:bodyPr/>
          <a:lstStyle/>
          <a:p>
            <a:pPr algn="r"/>
            <a:r>
              <a:rPr lang="lt-LT" sz="1050" dirty="0"/>
              <a:t>Šaltinis: </a:t>
            </a:r>
            <a:r>
              <a:rPr lang="lt-LT" sz="1050" dirty="0" err="1"/>
              <a:t>D.Tilo</a:t>
            </a:r>
            <a:r>
              <a:rPr lang="lt-LT" sz="1050" dirty="0"/>
              <a:t> „</a:t>
            </a:r>
            <a:r>
              <a:rPr lang="lt-LT" sz="1050" dirty="0" err="1"/>
              <a:t>Which</a:t>
            </a:r>
            <a:r>
              <a:rPr lang="lt-LT" sz="1050" dirty="0"/>
              <a:t> roles are </a:t>
            </a:r>
            <a:r>
              <a:rPr lang="lt-LT" sz="1050" dirty="0" err="1"/>
              <a:t>most</a:t>
            </a:r>
            <a:r>
              <a:rPr lang="lt-LT" sz="1050" dirty="0"/>
              <a:t> </a:t>
            </a:r>
            <a:r>
              <a:rPr lang="lt-LT" sz="1050" dirty="0" err="1"/>
              <a:t>likely</a:t>
            </a:r>
            <a:r>
              <a:rPr lang="lt-LT" sz="1050" dirty="0"/>
              <a:t> to be </a:t>
            </a:r>
            <a:r>
              <a:rPr lang="lt-LT" sz="1050" dirty="0" err="1"/>
              <a:t>replaced</a:t>
            </a:r>
            <a:r>
              <a:rPr lang="lt-LT" sz="1050" dirty="0"/>
              <a:t> </a:t>
            </a:r>
            <a:r>
              <a:rPr lang="lt-LT" sz="1050" dirty="0" err="1"/>
              <a:t>by</a:t>
            </a:r>
            <a:r>
              <a:rPr lang="lt-LT" sz="1050" dirty="0"/>
              <a:t> AI?“, HRD, </a:t>
            </a:r>
            <a:r>
              <a:rPr lang="en-US" sz="1050" dirty="0"/>
              <a:t>2022</a:t>
            </a:r>
            <a:endParaRPr lang="en-GB" sz="105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BA041A-84C6-5B39-C18B-D65A54499A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4600" y="6351405"/>
            <a:ext cx="477736" cy="242418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859873C9-BF5D-4A9A-BB31-45BBB7BABAF7}" type="slidenum">
              <a:rPr lang="en-GB" noProof="0" smtClean="0"/>
              <a:pPr>
                <a:spcAft>
                  <a:spcPts val="600"/>
                </a:spcAft>
              </a:pPr>
              <a:t>3</a:t>
            </a:fld>
            <a:endParaRPr lang="en-GB" noProof="0"/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0E7C9636-EC16-9452-2E84-8908B62075A0}"/>
              </a:ext>
            </a:extLst>
          </p:cNvPr>
          <p:cNvSpPr txBox="1">
            <a:spLocks/>
          </p:cNvSpPr>
          <p:nvPr/>
        </p:nvSpPr>
        <p:spPr>
          <a:xfrm>
            <a:off x="495989" y="481665"/>
            <a:ext cx="10620375" cy="10522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FF5F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lt-LT" b="0" dirty="0">
                <a:latin typeface="Arial" panose="020B0604020202020204" pitchFamily="34" charset="0"/>
                <a:cs typeface="Arial" panose="020B0604020202020204" pitchFamily="34" charset="0"/>
              </a:rPr>
              <a:t>HR rolės, kurios gali būti automatizuotos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C3966AD6-FA9A-03A5-DFE9-0E31AEA20C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5502" y="1514164"/>
            <a:ext cx="1680519" cy="1680519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BB9EB6B0-B3E6-FA7A-4BAF-5AE4B10C9B9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43945" y="1763713"/>
            <a:ext cx="1095947" cy="1095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5975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A9E673-4EF3-3921-A27B-3903F1499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50" y="482471"/>
            <a:ext cx="10620375" cy="1052892"/>
          </a:xfrm>
        </p:spPr>
        <p:txBody>
          <a:bodyPr anchor="t">
            <a:normAutofit/>
          </a:bodyPr>
          <a:lstStyle/>
          <a:p>
            <a:r>
              <a:rPr lang="lt-LT" b="0" dirty="0">
                <a:latin typeface="Arial" panose="020B0604020202020204" pitchFamily="34" charset="0"/>
                <a:cs typeface="Arial" panose="020B0604020202020204" pitchFamily="34" charset="0"/>
              </a:rPr>
              <a:t>Ar tai HR srities apokalipsė?</a:t>
            </a:r>
          </a:p>
        </p:txBody>
      </p:sp>
      <p:pic>
        <p:nvPicPr>
          <p:cNvPr id="8" name="Picture 7" descr="A group of people riding horses&#10;&#10;Description automatically generated">
            <a:extLst>
              <a:ext uri="{FF2B5EF4-FFF2-40B4-BE49-F238E27FC236}">
                <a16:creationId xmlns:a16="http://schemas.microsoft.com/office/drawing/2014/main" id="{8DA3301C-A33D-794F-94B3-1CD6A046523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2985" r="-1" b="16927"/>
          <a:stretch/>
        </p:blipFill>
        <p:spPr>
          <a:xfrm>
            <a:off x="486050" y="1136288"/>
            <a:ext cx="9082750" cy="5457535"/>
          </a:xfrm>
          <a:prstGeom prst="rect">
            <a:avLst/>
          </a:prstGeom>
          <a:noFill/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F63C97-8C1E-51DF-4E1B-5B3392A723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4600" y="6351405"/>
            <a:ext cx="477736" cy="242418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859873C9-BF5D-4A9A-BB31-45BBB7BABAF7}" type="slidenum">
              <a:rPr lang="en-GB" noProof="0" smtClean="0"/>
              <a:pPr>
                <a:spcAft>
                  <a:spcPts val="600"/>
                </a:spcAft>
              </a:pPr>
              <a:t>4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0215236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8207BC6-A379-4B8F-8A9D-DE2535A26E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8207BC6-A379-4B8F-8A9D-DE2535A26E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5970EFF-E093-4267-BF22-F54B11A707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555" y="481665"/>
            <a:ext cx="10845524" cy="558521"/>
          </a:xfrm>
        </p:spPr>
        <p:txBody>
          <a:bodyPr vert="horz">
            <a:normAutofit fontScale="90000"/>
          </a:bodyPr>
          <a:lstStyle/>
          <a:p>
            <a:r>
              <a:rPr lang="lt-LT" b="0" dirty="0">
                <a:latin typeface="Arial" panose="020B0604020202020204" pitchFamily="34" charset="0"/>
                <a:cs typeface="Arial" panose="020B0604020202020204" pitchFamily="34" charset="0"/>
              </a:rPr>
              <a:t>Arba nauja galimybė HR:</a:t>
            </a:r>
            <a:br>
              <a:rPr lang="lt-LT" b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lt-LT" sz="2400" b="0" dirty="0">
                <a:latin typeface="Arial" panose="020B0604020202020204" pitchFamily="34" charset="0"/>
                <a:cs typeface="Arial" panose="020B0604020202020204" pitchFamily="34" charset="0"/>
              </a:rPr>
              <a:t>HR partnerių veiklos analizė („Swedbank“ pavyzdys)</a:t>
            </a:r>
            <a:endParaRPr lang="en-GB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B29189E-E6FC-47A3-9007-1E29C2804821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95318" y="-734039"/>
            <a:ext cx="5397362" cy="418384"/>
          </a:xfrm>
        </p:spPr>
        <p:txBody>
          <a:bodyPr/>
          <a:lstStyle/>
          <a:p>
            <a:pPr algn="ctr"/>
            <a:r>
              <a:rPr lang="lt-LT" sz="1800" dirty="0" err="1"/>
              <a:t>Delloitte</a:t>
            </a:r>
            <a:endParaRPr lang="en-GB" sz="180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310C3-27FD-41F2-AF39-FB2F4C58A1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pPr/>
              <a:t>5</a:t>
            </a:fld>
            <a:endParaRPr lang="en-GB" noProof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7A57B6CF-2019-475F-AFEA-9609075447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0578" y="1581665"/>
            <a:ext cx="4140416" cy="4410751"/>
          </a:xfrm>
        </p:spPr>
        <p:txBody>
          <a:bodyPr vert="horz" lIns="0" tIns="0" rIns="0" bIns="0" rtlCol="0" anchor="t">
            <a:noAutofit/>
          </a:bodyPr>
          <a:lstStyle/>
          <a:p>
            <a:pPr marL="267970" indent="-267970"/>
            <a:r>
              <a:rPr lang="en-GB" sz="2000" dirty="0">
                <a:solidFill>
                  <a:srgbClr val="512B2B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The Deloitte Global HRBP Academy </a:t>
            </a:r>
            <a:r>
              <a:rPr lang="lt-LT" sz="2000" dirty="0">
                <a:solidFill>
                  <a:srgbClr val="512B2B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skatina dideles organizacijas labiau išnaudoti HR funkcijos potencialą. Moderniose HR organizacijose HR partneriai dirba strategiškai patardami ir konsultuodami verslą</a:t>
            </a:r>
            <a:endParaRPr lang="en-GB" sz="2000" dirty="0">
              <a:solidFill>
                <a:srgbClr val="512B2B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</a:endParaRPr>
          </a:p>
          <a:p>
            <a:pPr marL="267970" indent="-267970"/>
            <a:r>
              <a:rPr lang="lt-LT" sz="2000" dirty="0">
                <a:solidFill>
                  <a:srgbClr val="512B2B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Pastaba</a:t>
            </a:r>
            <a:r>
              <a:rPr lang="en-GB" sz="2000" dirty="0">
                <a:solidFill>
                  <a:srgbClr val="512B2B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: </a:t>
            </a:r>
            <a:r>
              <a:rPr lang="lt-LT" sz="2000" dirty="0">
                <a:solidFill>
                  <a:srgbClr val="512B2B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Vyraujančių praktikų </a:t>
            </a:r>
            <a:r>
              <a:rPr lang="lt-LT" sz="2000" dirty="0" err="1">
                <a:solidFill>
                  <a:srgbClr val="512B2B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kategorizavimą</a:t>
            </a:r>
            <a:r>
              <a:rPr lang="lt-LT" sz="2000" dirty="0">
                <a:solidFill>
                  <a:srgbClr val="512B2B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 visada reikia vertinti konkrečios organizacijos HR strategijos ir HR organizacijos kontekste. </a:t>
            </a:r>
            <a:endParaRPr lang="en-GB" sz="2000" dirty="0">
              <a:solidFill>
                <a:srgbClr val="512B2B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2220B56-01DA-40F1-9286-B53A6D69154C}"/>
              </a:ext>
            </a:extLst>
          </p:cNvPr>
          <p:cNvGrpSpPr/>
          <p:nvPr/>
        </p:nvGrpSpPr>
        <p:grpSpPr>
          <a:xfrm>
            <a:off x="595318" y="4705251"/>
            <a:ext cx="5308599" cy="1383732"/>
            <a:chOff x="5182945" y="3841770"/>
            <a:chExt cx="7431335" cy="1382749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9056DA2B-5477-4D4F-8162-F50B77295F4D}"/>
                </a:ext>
              </a:extLst>
            </p:cNvPr>
            <p:cNvGrpSpPr/>
            <p:nvPr/>
          </p:nvGrpSpPr>
          <p:grpSpPr>
            <a:xfrm>
              <a:off x="5182945" y="3841770"/>
              <a:ext cx="7431335" cy="688975"/>
              <a:chOff x="5161679" y="3841770"/>
              <a:chExt cx="7431335" cy="688975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83D709A4-B141-4D7F-B7D6-2BF0804AF0CC}"/>
                  </a:ext>
                </a:extLst>
              </p:cNvPr>
              <p:cNvSpPr/>
              <p:nvPr/>
            </p:nvSpPr>
            <p:spPr>
              <a:xfrm>
                <a:off x="5161679" y="3841770"/>
                <a:ext cx="3724275" cy="688975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8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lt-LT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Ne HR partnerio darbas</a:t>
                </a:r>
                <a:br>
                  <a:rPr kumimoji="0" lang="en-GB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kumimoji="0" lang="lt-LT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Funkcijos neturėtų būti atliekamos HR partnerių</a:t>
                </a:r>
                <a:endParaRPr kumimoji="0" lang="en-GB" sz="14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0B6E3B53-5E39-4C00-882B-048AF1B5EE88}"/>
                  </a:ext>
                </a:extLst>
              </p:cNvPr>
              <p:cNvSpPr/>
              <p:nvPr/>
            </p:nvSpPr>
            <p:spPr>
              <a:xfrm>
                <a:off x="8868739" y="3841770"/>
                <a:ext cx="3724275" cy="68897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8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lt-LT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Operatyvinė veikla</a:t>
                </a:r>
                <a:br>
                  <a:rPr kumimoji="0" lang="en-GB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kumimoji="0" lang="lt-LT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Strategija išskaidyta į konkrečias veiklas, procesų įgyvendinimas. </a:t>
                </a: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6E90D810-A692-4EBF-B289-A61DD87B936B}"/>
                </a:ext>
              </a:extLst>
            </p:cNvPr>
            <p:cNvGrpSpPr/>
            <p:nvPr/>
          </p:nvGrpSpPr>
          <p:grpSpPr>
            <a:xfrm>
              <a:off x="5182945" y="4535544"/>
              <a:ext cx="7431335" cy="688975"/>
              <a:chOff x="5182945" y="4535544"/>
              <a:chExt cx="7431335" cy="688975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A0078AC0-4F32-44F5-8832-4968ED2761CF}"/>
                  </a:ext>
                </a:extLst>
              </p:cNvPr>
              <p:cNvSpPr/>
              <p:nvPr/>
            </p:nvSpPr>
            <p:spPr>
              <a:xfrm>
                <a:off x="5182945" y="4535544"/>
                <a:ext cx="3707059" cy="68897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>
                  <a:spcBef>
                    <a:spcPts val="800"/>
                  </a:spcBef>
                </a:pPr>
                <a:r>
                  <a:rPr kumimoji="0" lang="lt-LT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Strateginė veikla</a:t>
                </a:r>
                <a:b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lt-LT" sz="1100" noProof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lgalaikė veiklos kryptis, susieta su HR ir verslo strategija. </a:t>
                </a:r>
                <a:endParaRPr lang="en-GB" sz="1100" noProof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8EB90A42-851C-45CA-9B95-4A84D7852B99}"/>
                  </a:ext>
                </a:extLst>
              </p:cNvPr>
              <p:cNvSpPr/>
              <p:nvPr/>
            </p:nvSpPr>
            <p:spPr>
              <a:xfrm>
                <a:off x="8890003" y="4535544"/>
                <a:ext cx="3724277" cy="68897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8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lt-LT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Administraciniai darbai</a:t>
                </a:r>
                <a:br>
                  <a:rPr lang="en-GB" sz="1400" b="1" noProof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kumimoji="0" lang="lt-LT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Reaktyvūs ir nekuriantys vertės</a:t>
                </a: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739AA55-4789-4823-9699-27A642D74339}"/>
              </a:ext>
            </a:extLst>
          </p:cNvPr>
          <p:cNvGrpSpPr/>
          <p:nvPr/>
        </p:nvGrpSpPr>
        <p:grpSpPr>
          <a:xfrm>
            <a:off x="-165523" y="1347340"/>
            <a:ext cx="3816753" cy="3160610"/>
            <a:chOff x="6835772" y="1194168"/>
            <a:chExt cx="3816753" cy="3160610"/>
          </a:xfrm>
        </p:grpSpPr>
        <p:graphicFrame>
          <p:nvGraphicFramePr>
            <p:cNvPr id="32" name="Chart 31">
              <a:extLst>
                <a:ext uri="{FF2B5EF4-FFF2-40B4-BE49-F238E27FC236}">
                  <a16:creationId xmlns:a16="http://schemas.microsoft.com/office/drawing/2014/main" id="{11C74FC5-A005-4FB4-889E-C07E695FE067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50066186"/>
                </p:ext>
              </p:extLst>
            </p:nvPr>
          </p:nvGraphicFramePr>
          <p:xfrm>
            <a:off x="6835772" y="1194168"/>
            <a:ext cx="3816753" cy="316061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A599950-48EF-4ACB-A09B-E5A80261B368}"/>
                </a:ext>
              </a:extLst>
            </p:cNvPr>
            <p:cNvSpPr txBox="1"/>
            <p:nvPr/>
          </p:nvSpPr>
          <p:spPr>
            <a:xfrm>
              <a:off x="7144375" y="4158335"/>
              <a:ext cx="317381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800"/>
                </a:spcBef>
              </a:pPr>
              <a:r>
                <a:rPr lang="en-GB" sz="800" dirty="0">
                  <a:solidFill>
                    <a:srgbClr val="512B2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*</a:t>
              </a:r>
              <a:r>
                <a:rPr lang="lt-LT" sz="800" dirty="0">
                  <a:solidFill>
                    <a:srgbClr val="512B2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ėra HR partnerių darbo dalis</a:t>
              </a:r>
              <a:endParaRPr lang="en-GB" sz="800" dirty="0">
                <a:solidFill>
                  <a:srgbClr val="512B2B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37B90588-161F-8B5B-11F5-529EBAD21E6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56852864"/>
              </p:ext>
            </p:extLst>
          </p:nvPr>
        </p:nvGraphicFramePr>
        <p:xfrm>
          <a:off x="2826182" y="1352142"/>
          <a:ext cx="3599570" cy="31823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52640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ounded Rectangle 149">
            <a:extLst>
              <a:ext uri="{FF2B5EF4-FFF2-40B4-BE49-F238E27FC236}">
                <a16:creationId xmlns:a16="http://schemas.microsoft.com/office/drawing/2014/main" id="{0E5F3767-7829-B026-F0B6-DC6C2D872C8E}"/>
              </a:ext>
            </a:extLst>
          </p:cNvPr>
          <p:cNvSpPr/>
          <p:nvPr/>
        </p:nvSpPr>
        <p:spPr>
          <a:xfrm>
            <a:off x="8693331" y="1800833"/>
            <a:ext cx="2832254" cy="2078569"/>
          </a:xfrm>
          <a:prstGeom prst="roundRect">
            <a:avLst>
              <a:gd name="adj" fmla="val 6561"/>
            </a:avLst>
          </a:prstGeom>
          <a:solidFill>
            <a:srgbClr val="FDF6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T" sz="2200" noProof="0" dirty="0" err="1"/>
          </a:p>
        </p:txBody>
      </p:sp>
      <p:sp>
        <p:nvSpPr>
          <p:cNvPr id="151" name="Rounded Rectangle 150">
            <a:extLst>
              <a:ext uri="{FF2B5EF4-FFF2-40B4-BE49-F238E27FC236}">
                <a16:creationId xmlns:a16="http://schemas.microsoft.com/office/drawing/2014/main" id="{143C80FE-7F68-9B97-7A26-53251D7A4A88}"/>
              </a:ext>
            </a:extLst>
          </p:cNvPr>
          <p:cNvSpPr/>
          <p:nvPr/>
        </p:nvSpPr>
        <p:spPr>
          <a:xfrm>
            <a:off x="8693331" y="4031805"/>
            <a:ext cx="2832254" cy="2078569"/>
          </a:xfrm>
          <a:prstGeom prst="roundRect">
            <a:avLst>
              <a:gd name="adj" fmla="val 6561"/>
            </a:avLst>
          </a:prstGeom>
          <a:solidFill>
            <a:srgbClr val="FDF6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T" sz="2200" noProof="0" dirty="0" err="1"/>
          </a:p>
        </p:txBody>
      </p:sp>
      <p:sp>
        <p:nvSpPr>
          <p:cNvPr id="149" name="Rounded Rectangle 148">
            <a:extLst>
              <a:ext uri="{FF2B5EF4-FFF2-40B4-BE49-F238E27FC236}">
                <a16:creationId xmlns:a16="http://schemas.microsoft.com/office/drawing/2014/main" id="{5F0B5D2B-012F-6BA3-593C-3B1E7E80756F}"/>
              </a:ext>
            </a:extLst>
          </p:cNvPr>
          <p:cNvSpPr/>
          <p:nvPr/>
        </p:nvSpPr>
        <p:spPr>
          <a:xfrm>
            <a:off x="5350474" y="4031806"/>
            <a:ext cx="3163329" cy="2078569"/>
          </a:xfrm>
          <a:prstGeom prst="roundRect">
            <a:avLst>
              <a:gd name="adj" fmla="val 6561"/>
            </a:avLst>
          </a:prstGeom>
          <a:solidFill>
            <a:srgbClr val="FDF6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T" sz="2200" noProof="0" dirty="0" err="1"/>
          </a:p>
        </p:txBody>
      </p:sp>
      <p:sp>
        <p:nvSpPr>
          <p:cNvPr id="148" name="Rounded Rectangle 147">
            <a:extLst>
              <a:ext uri="{FF2B5EF4-FFF2-40B4-BE49-F238E27FC236}">
                <a16:creationId xmlns:a16="http://schemas.microsoft.com/office/drawing/2014/main" id="{6CDA9E7E-8FCE-58D8-C4DE-D5B8337E60A0}"/>
              </a:ext>
            </a:extLst>
          </p:cNvPr>
          <p:cNvSpPr/>
          <p:nvPr/>
        </p:nvSpPr>
        <p:spPr>
          <a:xfrm>
            <a:off x="5350474" y="1800834"/>
            <a:ext cx="3163329" cy="2078569"/>
          </a:xfrm>
          <a:prstGeom prst="roundRect">
            <a:avLst>
              <a:gd name="adj" fmla="val 6561"/>
            </a:avLst>
          </a:prstGeom>
          <a:solidFill>
            <a:srgbClr val="FDF6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T" sz="2200" noProof="0" dirty="0" err="1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E457985-C158-4CBB-87B5-94E3D0330D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E457985-C158-4CBB-87B5-94E3D0330D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5F7443B-BE23-4E0E-B03C-C51B9FD32E8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3546" y="1805584"/>
            <a:ext cx="2212265" cy="3986556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lt-LT" sz="1600" b="1" dirty="0">
                <a:latin typeface="Arial" panose="020B0604020202020204" pitchFamily="34" charset="0"/>
                <a:cs typeface="Arial" panose="020B0604020202020204" pitchFamily="34" charset="0"/>
              </a:rPr>
              <a:t>Darbo santykių klausimai</a:t>
            </a:r>
            <a:endParaRPr lang="en-GB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600"/>
              </a:spcBef>
            </a:pPr>
            <a:r>
              <a:rPr lang="lt-LT" sz="1200" dirty="0">
                <a:latin typeface="Arial" panose="020B0604020202020204" pitchFamily="34" charset="0"/>
                <a:cs typeface="Arial" panose="020B0604020202020204" pitchFamily="34" charset="0"/>
              </a:rPr>
              <a:t>Pensijų sutartys (Švedija)</a:t>
            </a: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600"/>
              </a:spcBef>
            </a:pPr>
            <a:r>
              <a:rPr lang="lt-LT" sz="1200" dirty="0">
                <a:latin typeface="Arial" panose="020B0604020202020204" pitchFamily="34" charset="0"/>
                <a:cs typeface="Arial" panose="020B0604020202020204" pitchFamily="34" charset="0"/>
              </a:rPr>
              <a:t>Kai kurių darbo teisės klausimų sprendimas</a:t>
            </a: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600"/>
              </a:spcBef>
            </a:pP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lt-LT" sz="1600" b="1" dirty="0">
                <a:latin typeface="Arial" panose="020B0604020202020204" pitchFamily="34" charset="0"/>
                <a:cs typeface="Arial" panose="020B0604020202020204" pitchFamily="34" charset="0"/>
              </a:rPr>
              <a:t>Organizaciniai pokyčiai</a:t>
            </a:r>
            <a:endParaRPr lang="en-GB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600"/>
              </a:spcBef>
            </a:pPr>
            <a:r>
              <a:rPr lang="lt-LT" sz="1200" dirty="0">
                <a:latin typeface="Arial" panose="020B0604020202020204" pitchFamily="34" charset="0"/>
                <a:cs typeface="Arial" panose="020B0604020202020204" pitchFamily="34" charset="0"/>
              </a:rPr>
              <a:t>Darbuotojų perkėlimai, potvarkiai</a:t>
            </a: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600"/>
              </a:spcBef>
            </a:pP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lt-LT" sz="1600" b="1" dirty="0">
                <a:latin typeface="Arial" panose="020B0604020202020204" pitchFamily="34" charset="0"/>
                <a:cs typeface="Arial" panose="020B0604020202020204" pitchFamily="34" charset="0"/>
              </a:rPr>
              <a:t>Atlygio klausimai</a:t>
            </a:r>
            <a:endParaRPr lang="en-GB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600"/>
              </a:spcBef>
            </a:pPr>
            <a:r>
              <a:rPr lang="lt-LT" sz="1200" dirty="0">
                <a:latin typeface="Arial" panose="020B0604020202020204" pitchFamily="34" charset="0"/>
                <a:cs typeface="Arial" panose="020B0604020202020204" pitchFamily="34" charset="0"/>
              </a:rPr>
              <a:t>Pareigybės lygiai</a:t>
            </a: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600"/>
              </a:spcBef>
            </a:pPr>
            <a:r>
              <a:rPr lang="lt-LT" sz="1200" dirty="0">
                <a:latin typeface="Arial" panose="020B0604020202020204" pitchFamily="34" charset="0"/>
                <a:cs typeface="Arial" panose="020B0604020202020204" pitchFamily="34" charset="0"/>
              </a:rPr>
              <a:t>Atlygio peržiūros dokumentacija</a:t>
            </a: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31C9987-5F49-41AA-896B-62A85162A7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D4BD61-4E0A-4050-9C95-CB1F879CAB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F5467F-CA83-4951-87CD-A29B72857444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6BB97E-D52B-A2F3-BBD6-68BB0B09B905}"/>
              </a:ext>
            </a:extLst>
          </p:cNvPr>
          <p:cNvSpPr txBox="1">
            <a:spLocks/>
          </p:cNvSpPr>
          <p:nvPr/>
        </p:nvSpPr>
        <p:spPr>
          <a:xfrm>
            <a:off x="506555" y="481665"/>
            <a:ext cx="6878219" cy="5585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FF5F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lt-LT" b="0" dirty="0">
                <a:latin typeface="Arial" panose="020B0604020202020204" pitchFamily="34" charset="0"/>
                <a:cs typeface="Arial" panose="020B0604020202020204" pitchFamily="34" charset="0"/>
              </a:rPr>
              <a:t>Kaip patys darbuotojai mąsto apie automatizavimo galimybes</a:t>
            </a:r>
            <a:endParaRPr lang="en-GB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47D0AD7-0A83-2E73-33AE-177C58385BC5}"/>
              </a:ext>
            </a:extLst>
          </p:cNvPr>
          <p:cNvSpPr txBox="1"/>
          <p:nvPr/>
        </p:nvSpPr>
        <p:spPr>
          <a:xfrm>
            <a:off x="5492930" y="2854260"/>
            <a:ext cx="2894447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lt-LT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ug klausimų susijusių su darbo teise, ypač išėjimo iš darbo atveju </a:t>
            </a: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en-GB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tbot</a:t>
            </a:r>
            <a:r>
              <a:rPr lang="lt-LT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‘</a:t>
            </a:r>
            <a:r>
              <a:rPr lang="lt-LT" sz="1400" b="1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</a:t>
            </a: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lt-LT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ugeliu atvejų būtų labai naudingas</a:t>
            </a: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[…].“</a:t>
            </a:r>
          </a:p>
        </p:txBody>
      </p:sp>
      <p:sp>
        <p:nvSpPr>
          <p:cNvPr id="17" name="Content Placeholder 5">
            <a:extLst>
              <a:ext uri="{FF2B5EF4-FFF2-40B4-BE49-F238E27FC236}">
                <a16:creationId xmlns:a16="http://schemas.microsoft.com/office/drawing/2014/main" id="{1C88C824-FBED-7FCC-5436-8BBD5055B831}"/>
              </a:ext>
            </a:extLst>
          </p:cNvPr>
          <p:cNvSpPr txBox="1">
            <a:spLocks/>
          </p:cNvSpPr>
          <p:nvPr/>
        </p:nvSpPr>
        <p:spPr>
          <a:xfrm>
            <a:off x="2743018" y="1800834"/>
            <a:ext cx="2212265" cy="39865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FF5F00"/>
              </a:buClr>
              <a:buFont typeface="Arial" panose="020B0604020202020204" pitchFamily="34" charset="0"/>
              <a:buChar char="●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25600" indent="-234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FF5F00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05600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FF5F00"/>
              </a:buClr>
              <a:buFont typeface="Arial" panose="020B0604020202020204" pitchFamily="34" charset="0"/>
              <a:buChar char="●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85600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FF5F00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065600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FF5F00"/>
              </a:buClr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245600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−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425600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●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5600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​"/>
              <a:defRPr sz="2400" kern="1200" baseline="0">
                <a:solidFill>
                  <a:srgbClr val="FF5F00"/>
                </a:solidFill>
                <a:latin typeface="+mj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RAF-log</a:t>
            </a:r>
          </a:p>
          <a:p>
            <a:pPr lvl="1">
              <a:spcBef>
                <a:spcPts val="600"/>
              </a:spcBef>
            </a:pPr>
            <a:r>
              <a:rPr lang="lt-LT" sz="1200" dirty="0">
                <a:latin typeface="Arial" panose="020B0604020202020204" pitchFamily="34" charset="0"/>
                <a:cs typeface="Arial" panose="020B0604020202020204" pitchFamily="34" charset="0"/>
              </a:rPr>
              <a:t>Struktūrų atnaujinimas</a:t>
            </a: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600"/>
              </a:spcBef>
            </a:pPr>
            <a:r>
              <a:rPr lang="lt-LT" sz="1200" dirty="0">
                <a:latin typeface="Arial" panose="020B0604020202020204" pitchFamily="34" charset="0"/>
                <a:cs typeface="Arial" panose="020B0604020202020204" pitchFamily="34" charset="0"/>
              </a:rPr>
              <a:t>Organizacijos struktūrų kūrimas</a:t>
            </a: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600"/>
              </a:spcBef>
            </a:pP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lt-LT" sz="1600" b="1" dirty="0">
                <a:latin typeface="Arial" panose="020B0604020202020204" pitchFamily="34" charset="0"/>
                <a:cs typeface="Arial" panose="020B0604020202020204" pitchFamily="34" charset="0"/>
              </a:rPr>
              <a:t>Apklausų struktūra</a:t>
            </a:r>
            <a:endParaRPr lang="en-GB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600"/>
              </a:spcBef>
            </a:pPr>
            <a:r>
              <a:rPr lang="lt-LT" sz="1200" dirty="0">
                <a:latin typeface="Arial" panose="020B0604020202020204" pitchFamily="34" charset="0"/>
                <a:cs typeface="Arial" panose="020B0604020202020204" pitchFamily="34" charset="0"/>
              </a:rPr>
              <a:t>Organizacijos struktūrų atnaujinimai</a:t>
            </a: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66D489A-6A34-B804-4FAA-8DF58B1987B0}"/>
              </a:ext>
            </a:extLst>
          </p:cNvPr>
          <p:cNvSpPr txBox="1"/>
          <p:nvPr/>
        </p:nvSpPr>
        <p:spPr>
          <a:xfrm>
            <a:off x="5495762" y="5082206"/>
            <a:ext cx="2894447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99888" algn="ctr"/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lt-LT" sz="1400" dirty="0">
                <a:solidFill>
                  <a:schemeClr val="accent1"/>
                </a:solidFill>
              </a:rPr>
              <a:t>Apklausoms kiekvieną kartą peržiūrime struktūrą rankiniu būdu, manau tai galėtų būti automatizuota</a:t>
            </a:r>
            <a:r>
              <a:rPr lang="en-GB" sz="1400" dirty="0">
                <a:solidFill>
                  <a:schemeClr val="accent1"/>
                </a:solidFill>
              </a:rPr>
              <a:t>.“</a:t>
            </a:r>
          </a:p>
        </p:txBody>
      </p:sp>
      <p:pic>
        <p:nvPicPr>
          <p:cNvPr id="141" name="Graphic 140">
            <a:extLst>
              <a:ext uri="{FF2B5EF4-FFF2-40B4-BE49-F238E27FC236}">
                <a16:creationId xmlns:a16="http://schemas.microsoft.com/office/drawing/2014/main" id="{66BC7A79-E78B-BDE0-0BC6-A8BBC361FF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539943" y="4031805"/>
            <a:ext cx="845986" cy="933718"/>
          </a:xfrm>
          <a:prstGeom prst="rect">
            <a:avLst/>
          </a:prstGeom>
        </p:spPr>
      </p:pic>
      <p:sp>
        <p:nvSpPr>
          <p:cNvPr id="143" name="TextBox 142">
            <a:extLst>
              <a:ext uri="{FF2B5EF4-FFF2-40B4-BE49-F238E27FC236}">
                <a16:creationId xmlns:a16="http://schemas.microsoft.com/office/drawing/2014/main" id="{738F5E98-7C51-4917-4C50-935D6D197E5E}"/>
              </a:ext>
            </a:extLst>
          </p:cNvPr>
          <p:cNvSpPr txBox="1"/>
          <p:nvPr/>
        </p:nvSpPr>
        <p:spPr>
          <a:xfrm>
            <a:off x="8820868" y="2868461"/>
            <a:ext cx="257718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65600" algn="ctr"/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lt-LT" sz="1400" dirty="0">
                <a:solidFill>
                  <a:schemeClr val="accent1"/>
                </a:solidFill>
              </a:rPr>
              <a:t>Atrankose naudojamos sistemos galėtų būti labiau integruotos</a:t>
            </a:r>
            <a:r>
              <a:rPr lang="en-GB" sz="1400" dirty="0">
                <a:solidFill>
                  <a:schemeClr val="accent1"/>
                </a:solidFill>
              </a:rPr>
              <a:t>.“ 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115DC810-5825-39C7-ED7C-D2B9B418D0C9}"/>
              </a:ext>
            </a:extLst>
          </p:cNvPr>
          <p:cNvSpPr txBox="1"/>
          <p:nvPr/>
        </p:nvSpPr>
        <p:spPr>
          <a:xfrm>
            <a:off x="8787763" y="5096708"/>
            <a:ext cx="257718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199888" algn="ctr"/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lt-LT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lygio peržiūra galėtų būti labiau automatizuota[…] daug klausimų galima būtų atsakyti per </a:t>
            </a:r>
            <a:r>
              <a:rPr lang="lt-LT" sz="1400" b="1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tbot‘ą</a:t>
            </a:r>
            <a:r>
              <a:rPr lang="lt-LT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“</a:t>
            </a:r>
          </a:p>
        </p:txBody>
      </p:sp>
      <p:pic>
        <p:nvPicPr>
          <p:cNvPr id="146" name="Graphic 145">
            <a:extLst>
              <a:ext uri="{FF2B5EF4-FFF2-40B4-BE49-F238E27FC236}">
                <a16:creationId xmlns:a16="http://schemas.microsoft.com/office/drawing/2014/main" id="{0CE3907F-8566-F916-EC0C-58966AD4924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48982" y="3970148"/>
            <a:ext cx="1255164" cy="1255164"/>
          </a:xfrm>
          <a:prstGeom prst="rect">
            <a:avLst/>
          </a:prstGeom>
        </p:spPr>
      </p:pic>
      <p:pic>
        <p:nvPicPr>
          <p:cNvPr id="147" name="Graphic 146">
            <a:extLst>
              <a:ext uri="{FF2B5EF4-FFF2-40B4-BE49-F238E27FC236}">
                <a16:creationId xmlns:a16="http://schemas.microsoft.com/office/drawing/2014/main" id="{F023A94D-39A1-ECE8-74AA-4FB7F5D6F9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553342" y="1841963"/>
            <a:ext cx="1063282" cy="1063282"/>
          </a:xfrm>
          <a:prstGeom prst="rect">
            <a:avLst/>
          </a:prstGeom>
        </p:spPr>
      </p:pic>
      <p:pic>
        <p:nvPicPr>
          <p:cNvPr id="153" name="Graphic 152">
            <a:extLst>
              <a:ext uri="{FF2B5EF4-FFF2-40B4-BE49-F238E27FC236}">
                <a16:creationId xmlns:a16="http://schemas.microsoft.com/office/drawing/2014/main" id="{BF4111E9-E9AE-CD78-4BDE-F8123E06969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545815" y="1978277"/>
            <a:ext cx="747932" cy="747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457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5CD42D2-10EF-411F-80DC-12004844683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855374" y="1763713"/>
            <a:ext cx="3899383" cy="4175125"/>
          </a:xfrm>
        </p:spPr>
        <p:txBody>
          <a:bodyPr>
            <a:normAutofit/>
          </a:bodyPr>
          <a:lstStyle/>
          <a:p>
            <a:pPr marL="0" indent="0">
              <a:spcBef>
                <a:spcPts val="2600"/>
              </a:spcBef>
              <a:buNone/>
            </a:pPr>
            <a:r>
              <a:rPr lang="lt-LT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kaitmeninis raštingumas </a:t>
            </a:r>
            <a:br>
              <a:rPr lang="lt-LT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lt-LT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lt-LT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digital</a:t>
            </a:r>
            <a:r>
              <a:rPr lang="lt-LT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lt-LT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literacy</a:t>
            </a:r>
            <a:r>
              <a:rPr lang="lt-LT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0" indent="0">
              <a:spcBef>
                <a:spcPts val="2600"/>
              </a:spcBef>
              <a:buNone/>
            </a:pPr>
            <a:r>
              <a:rPr lang="lt-LT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apildytas darbas </a:t>
            </a:r>
            <a:br>
              <a:rPr lang="lt-LT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lt-LT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lt-LT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ugmented</a:t>
            </a:r>
            <a:r>
              <a:rPr lang="lt-LT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lt-LT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working</a:t>
            </a:r>
            <a:r>
              <a:rPr lang="lt-LT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600"/>
              </a:spcBef>
              <a:buNone/>
            </a:pPr>
            <a:r>
              <a:rPr lang="lt-LT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varumas</a:t>
            </a:r>
            <a:br>
              <a:rPr lang="lt-LT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2600"/>
              </a:spcBef>
              <a:buNone/>
            </a:pPr>
            <a:r>
              <a:rPr lang="lt-LT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Kritinis mąstymas</a:t>
            </a:r>
            <a:br>
              <a:rPr lang="lt-LT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lt-LT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ir analitika</a:t>
            </a:r>
            <a:endParaRPr lang="en-US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228990E-6F7A-7C34-2890-D6A2864DC6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305054" y="1763713"/>
            <a:ext cx="4244215" cy="4175125"/>
          </a:xfrm>
        </p:spPr>
        <p:txBody>
          <a:bodyPr>
            <a:normAutofit/>
          </a:bodyPr>
          <a:lstStyle/>
          <a:p>
            <a:pPr marL="0" indent="0">
              <a:spcBef>
                <a:spcPts val="2600"/>
              </a:spcBef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Geb</a:t>
            </a:r>
            <a:r>
              <a:rPr lang="lt-LT" dirty="0">
                <a:latin typeface="Arial" panose="020B0604020202020204" pitchFamily="34" charset="0"/>
                <a:cs typeface="Arial" panose="020B0604020202020204" pitchFamily="34" charset="0"/>
              </a:rPr>
              <a:t>ėjimas naudotis virtualaus bendravimo platformomis</a:t>
            </a:r>
          </a:p>
          <a:p>
            <a:pPr marL="0" indent="0">
              <a:spcBef>
                <a:spcPts val="2600"/>
              </a:spcBef>
              <a:buNone/>
            </a:pPr>
            <a:r>
              <a:rPr lang="lt-LT" dirty="0">
                <a:latin typeface="Arial" panose="020B0604020202020204" pitchFamily="34" charset="0"/>
                <a:cs typeface="Arial" panose="020B0604020202020204" pitchFamily="34" charset="0"/>
              </a:rPr>
              <a:t>Emocinė </a:t>
            </a:r>
            <a:br>
              <a:rPr lang="lt-LT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lt-LT" dirty="0">
                <a:latin typeface="Arial" panose="020B0604020202020204" pitchFamily="34" charset="0"/>
                <a:cs typeface="Arial" panose="020B0604020202020204" pitchFamily="34" charset="0"/>
              </a:rPr>
              <a:t>kompetencija</a:t>
            </a:r>
          </a:p>
          <a:p>
            <a:pPr marL="0" indent="0">
              <a:spcBef>
                <a:spcPts val="2600"/>
              </a:spcBef>
              <a:buNone/>
            </a:pPr>
            <a:r>
              <a:rPr lang="lt-LT" dirty="0">
                <a:latin typeface="Arial" panose="020B0604020202020204" pitchFamily="34" charset="0"/>
                <a:cs typeface="Arial" panose="020B0604020202020204" pitchFamily="34" charset="0"/>
              </a:rPr>
              <a:t>Lyderystės </a:t>
            </a:r>
            <a:br>
              <a:rPr lang="lt-LT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lt-LT" dirty="0">
                <a:latin typeface="Arial" panose="020B0604020202020204" pitchFamily="34" charset="0"/>
                <a:cs typeface="Arial" panose="020B0604020202020204" pitchFamily="34" charset="0"/>
              </a:rPr>
              <a:t>gebėjimai</a:t>
            </a:r>
          </a:p>
          <a:p>
            <a:pPr marL="0" indent="0">
              <a:spcBef>
                <a:spcPts val="2600"/>
              </a:spcBef>
              <a:buNone/>
            </a:pPr>
            <a:r>
              <a:rPr lang="lt-LT" dirty="0">
                <a:latin typeface="Arial" panose="020B0604020202020204" pitchFamily="34" charset="0"/>
                <a:cs typeface="Arial" panose="020B0604020202020204" pitchFamily="34" charset="0"/>
              </a:rPr>
              <a:t>Duomenų analitikos </a:t>
            </a:r>
            <a:br>
              <a:rPr lang="lt-LT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lt-LT" dirty="0">
                <a:latin typeface="Arial" panose="020B0604020202020204" pitchFamily="34" charset="0"/>
                <a:cs typeface="Arial" panose="020B0604020202020204" pitchFamily="34" charset="0"/>
              </a:rPr>
              <a:t>gebėjimai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FAB913D7-9FA0-40B2-8BF6-FDB71808B11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68800" y="6351405"/>
            <a:ext cx="1835800" cy="242607"/>
          </a:xfrm>
        </p:spPr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96042D-B90F-4F9C-AB21-CD607808FF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56800" y="6351405"/>
            <a:ext cx="5112000" cy="242418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lt-LT"/>
              <a:t>Šaltinis: „</a:t>
            </a:r>
            <a:r>
              <a:rPr lang="lt-LT" err="1"/>
              <a:t>The</a:t>
            </a:r>
            <a:r>
              <a:rPr lang="lt-LT"/>
              <a:t> </a:t>
            </a:r>
            <a:r>
              <a:rPr lang="lt-LT" err="1"/>
              <a:t>top</a:t>
            </a:r>
            <a:r>
              <a:rPr lang="lt-LT"/>
              <a:t> </a:t>
            </a:r>
            <a:r>
              <a:rPr lang="en-US"/>
              <a:t>10 demand skills for 2030, Forbes, 2023</a:t>
            </a:r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3D49FF-2471-4093-81C5-491684DEA7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4600" y="6351405"/>
            <a:ext cx="477736" cy="242418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859873C9-BF5D-4A9A-BB31-45BBB7BABAF7}" type="slidenum">
              <a:rPr lang="en-GB" noProof="0" smtClean="0"/>
              <a:pPr>
                <a:spcAft>
                  <a:spcPts val="600"/>
                </a:spcAft>
              </a:pPr>
              <a:t>7</a:t>
            </a:fld>
            <a:endParaRPr lang="en-GB" noProof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35D55F5-47AF-9C27-0337-1BDAE049C4B1}"/>
              </a:ext>
            </a:extLst>
          </p:cNvPr>
          <p:cNvSpPr txBox="1">
            <a:spLocks/>
          </p:cNvSpPr>
          <p:nvPr/>
        </p:nvSpPr>
        <p:spPr>
          <a:xfrm>
            <a:off x="506555" y="481665"/>
            <a:ext cx="10845524" cy="5585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FF5F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lt-LT" b="0" dirty="0">
                <a:latin typeface="Arial" panose="020B0604020202020204" pitchFamily="34" charset="0"/>
                <a:cs typeface="Arial" panose="020B0604020202020204" pitchFamily="34" charset="0"/>
              </a:rPr>
              <a:t>Kokių įgūdžių darbuotojams reikės 2030 metais?</a:t>
            </a:r>
            <a:endParaRPr lang="en-GB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F281B25B-02CB-5A7A-A9F5-3887C2CBE08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92092" y="3608179"/>
            <a:ext cx="874369" cy="874369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D1B65374-336E-D55C-6903-183E491D270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96000" y="3532289"/>
            <a:ext cx="1195388" cy="1195388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2D4BB5E1-DD94-FD09-22F6-11A283441E5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37187" y="1616766"/>
            <a:ext cx="974035" cy="974035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7745704A-9BB6-DF3A-9CB2-7930882A8F4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096000" y="1537253"/>
            <a:ext cx="1053548" cy="1053548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D77BF26-1656-C76C-6F9C-8AAB17F29D2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479400" y="4747555"/>
            <a:ext cx="533400" cy="742950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86CFB85A-8712-7ED1-3114-EA7FBA92D34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17309" y="4567511"/>
            <a:ext cx="1063282" cy="1063282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DC5072DD-2514-2B97-3671-C6C24F77DB1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047011" y="2423136"/>
            <a:ext cx="1329463" cy="1329463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62199D38-CA00-265D-169B-BB65D5FDEEB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94712" y="2544897"/>
            <a:ext cx="1063282" cy="1063282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8817410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77030C-096D-557F-99A2-66377D3B5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719" y="423499"/>
            <a:ext cx="10620375" cy="1052240"/>
          </a:xfrm>
        </p:spPr>
        <p:txBody>
          <a:bodyPr/>
          <a:lstStyle/>
          <a:p>
            <a:r>
              <a:rPr lang="lt-LT" b="0" dirty="0" err="1">
                <a:latin typeface="Arial" panose="020B0604020202020204" pitchFamily="34" charset="0"/>
                <a:cs typeface="Arial" panose="020B0604020202020204" pitchFamily="34" charset="0"/>
              </a:rPr>
              <a:t>Gartner</a:t>
            </a:r>
            <a:r>
              <a:rPr lang="lt-LT" b="0" dirty="0">
                <a:latin typeface="Arial" panose="020B0604020202020204" pitchFamily="34" charset="0"/>
                <a:cs typeface="Arial" panose="020B0604020202020204" pitchFamily="34" charset="0"/>
              </a:rPr>
              <a:t> prognozės </a:t>
            </a:r>
            <a: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  <a:t>2023: </a:t>
            </a:r>
            <a:b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  <a:t>HR </a:t>
            </a:r>
            <a:r>
              <a:rPr lang="en-US" b="0" dirty="0" err="1">
                <a:latin typeface="Arial" panose="020B0604020202020204" pitchFamily="34" charset="0"/>
                <a:cs typeface="Arial" panose="020B0604020202020204" pitchFamily="34" charset="0"/>
              </a:rPr>
              <a:t>vadov</a:t>
            </a:r>
            <a:r>
              <a:rPr lang="lt-LT" b="0" dirty="0">
                <a:latin typeface="Arial" panose="020B0604020202020204" pitchFamily="34" charset="0"/>
                <a:cs typeface="Arial" panose="020B0604020202020204" pitchFamily="34" charset="0"/>
              </a:rPr>
              <a:t>ų išskiriami </a:t>
            </a:r>
            <a:r>
              <a:rPr lang="lt-LT" b="0" dirty="0" err="1">
                <a:latin typeface="Arial" panose="020B0604020202020204" pitchFamily="34" charset="0"/>
                <a:cs typeface="Arial" panose="020B0604020202020204" pitchFamily="34" charset="0"/>
              </a:rPr>
              <a:t>top</a:t>
            </a:r>
            <a:r>
              <a:rPr lang="lt-LT" b="0" dirty="0">
                <a:latin typeface="Arial" panose="020B0604020202020204" pitchFamily="34" charset="0"/>
                <a:cs typeface="Arial" panose="020B0604020202020204" pitchFamily="34" charset="0"/>
              </a:rPr>
              <a:t> prioritetai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F29C28-9579-C357-E5A8-26FCF2196E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4E28D7-E889-5999-9745-074C0DC65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5FA95D-6B56-866A-5947-D639739B1A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8</a:t>
            </a:fld>
            <a:endParaRPr lang="en-GB" noProof="0" dirty="0"/>
          </a:p>
        </p:txBody>
      </p:sp>
      <p:sp>
        <p:nvSpPr>
          <p:cNvPr id="8" name="Speech Bubble: Oval 7">
            <a:extLst>
              <a:ext uri="{FF2B5EF4-FFF2-40B4-BE49-F238E27FC236}">
                <a16:creationId xmlns:a16="http://schemas.microsoft.com/office/drawing/2014/main" id="{05D0E481-7D31-9965-5535-24BE7CE0E3C3}"/>
              </a:ext>
            </a:extLst>
          </p:cNvPr>
          <p:cNvSpPr/>
          <p:nvPr/>
        </p:nvSpPr>
        <p:spPr>
          <a:xfrm>
            <a:off x="9378662" y="408500"/>
            <a:ext cx="2286834" cy="2173444"/>
          </a:xfrm>
          <a:prstGeom prst="wedgeEllipseCallout">
            <a:avLst>
              <a:gd name="adj1" fmla="val -7"/>
              <a:gd name="adj2" fmla="val 6185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noProof="0" dirty="0">
                <a:latin typeface="Arial" panose="020B0604020202020204" pitchFamily="34" charset="0"/>
                <a:cs typeface="Arial" panose="020B0604020202020204" pitchFamily="34" charset="0"/>
              </a:rPr>
              <a:t>Kokia jungiamoji grandis šiuose prioritetuose?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677F699-BFBA-A386-4F82-049A9F334506}"/>
              </a:ext>
            </a:extLst>
          </p:cNvPr>
          <p:cNvSpPr/>
          <p:nvPr/>
        </p:nvSpPr>
        <p:spPr>
          <a:xfrm>
            <a:off x="503718" y="1964724"/>
            <a:ext cx="2065498" cy="40186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T" sz="2200" noProof="0" dirty="0" err="1">
              <a:highlight>
                <a:srgbClr val="FDF6EE"/>
              </a:highlight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18CE2D-B29B-F0F3-6C3E-A0DAE8EB8DDE}"/>
              </a:ext>
            </a:extLst>
          </p:cNvPr>
          <p:cNvSpPr/>
          <p:nvPr/>
        </p:nvSpPr>
        <p:spPr>
          <a:xfrm>
            <a:off x="2783485" y="2286000"/>
            <a:ext cx="2065498" cy="36973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T" sz="2200" noProof="0" dirty="0" err="1">
              <a:highlight>
                <a:srgbClr val="FDF6EE"/>
              </a:highlight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238FB49-1B73-714D-0422-B88672601EA7}"/>
              </a:ext>
            </a:extLst>
          </p:cNvPr>
          <p:cNvSpPr/>
          <p:nvPr/>
        </p:nvSpPr>
        <p:spPr>
          <a:xfrm>
            <a:off x="5063252" y="2831344"/>
            <a:ext cx="2065498" cy="31520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T" sz="2200" noProof="0" dirty="0" err="1">
              <a:highlight>
                <a:srgbClr val="FDF6EE"/>
              </a:highlight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0B196D-28E4-D24A-5C91-AB870EBEAE83}"/>
              </a:ext>
            </a:extLst>
          </p:cNvPr>
          <p:cNvSpPr/>
          <p:nvPr/>
        </p:nvSpPr>
        <p:spPr>
          <a:xfrm>
            <a:off x="7343019" y="3064476"/>
            <a:ext cx="2065498" cy="29188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T" sz="2200" noProof="0" dirty="0" err="1">
              <a:highlight>
                <a:srgbClr val="FDF6EE"/>
              </a:highlight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F734A01-ADB1-C171-0CCB-30271EB68322}"/>
              </a:ext>
            </a:extLst>
          </p:cNvPr>
          <p:cNvSpPr/>
          <p:nvPr/>
        </p:nvSpPr>
        <p:spPr>
          <a:xfrm>
            <a:off x="9622784" y="3200364"/>
            <a:ext cx="2065498" cy="27829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T" sz="2200" noProof="0" dirty="0" err="1">
              <a:highlight>
                <a:srgbClr val="FDF6EE"/>
              </a:highlight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7A814A-C93A-5E19-1B20-E89E9FBC71A8}"/>
              </a:ext>
            </a:extLst>
          </p:cNvPr>
          <p:cNvSpPr txBox="1"/>
          <p:nvPr/>
        </p:nvSpPr>
        <p:spPr>
          <a:xfrm>
            <a:off x="634423" y="2112387"/>
            <a:ext cx="1804087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%</a:t>
            </a:r>
            <a:endParaRPr lang="lt-LT" sz="24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n-US" sz="1500" b="1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yderi</a:t>
            </a:r>
            <a:r>
              <a:rPr lang="lt-LT" sz="1500" b="1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ų</a:t>
            </a:r>
            <a:r>
              <a:rPr lang="lt-LT" sz="15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r vadovų efektyvuma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045A966-E84B-1943-5124-B78D030A5134}"/>
              </a:ext>
            </a:extLst>
          </p:cNvPr>
          <p:cNvSpPr txBox="1"/>
          <p:nvPr/>
        </p:nvSpPr>
        <p:spPr>
          <a:xfrm>
            <a:off x="2914190" y="2400457"/>
            <a:ext cx="1804087" cy="10618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3%</a:t>
            </a:r>
            <a:endParaRPr lang="lt-LT" sz="24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lt-LT" sz="15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zacijos struktūra ir pokyčių valdyma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53B058-9841-01B9-016F-4D4E0ACAD10F}"/>
              </a:ext>
            </a:extLst>
          </p:cNvPr>
          <p:cNvSpPr txBox="1"/>
          <p:nvPr/>
        </p:nvSpPr>
        <p:spPr>
          <a:xfrm>
            <a:off x="5208713" y="2965610"/>
            <a:ext cx="1804087" cy="6001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7%</a:t>
            </a:r>
            <a:endParaRPr lang="lt-LT" sz="24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lt-LT" sz="15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rbuotojų patirti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E5BAE20-4E06-3C31-CE62-B3515850A8AD}"/>
              </a:ext>
            </a:extLst>
          </p:cNvPr>
          <p:cNvSpPr txBox="1"/>
          <p:nvPr/>
        </p:nvSpPr>
        <p:spPr>
          <a:xfrm>
            <a:off x="7473724" y="3160397"/>
            <a:ext cx="1804087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6%</a:t>
            </a:r>
            <a:endParaRPr lang="lt-LT" sz="24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lt-LT" sz="15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rank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8F9174F-D39C-A6BA-3762-0512BB90A78B}"/>
              </a:ext>
            </a:extLst>
          </p:cNvPr>
          <p:cNvSpPr txBox="1"/>
          <p:nvPr/>
        </p:nvSpPr>
        <p:spPr>
          <a:xfrm>
            <a:off x="9753489" y="3382135"/>
            <a:ext cx="1804087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2%</a:t>
            </a:r>
            <a:endParaRPr lang="lt-LT" sz="24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lt-LT" sz="15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rbuotojų planavima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BAEFD7B-88F1-7691-3CB9-ADF4C9DFF7F0}"/>
              </a:ext>
            </a:extLst>
          </p:cNvPr>
          <p:cNvSpPr txBox="1"/>
          <p:nvPr/>
        </p:nvSpPr>
        <p:spPr>
          <a:xfrm>
            <a:off x="503718" y="5017138"/>
            <a:ext cx="2065498" cy="956773"/>
          </a:xfrm>
          <a:prstGeom prst="rect">
            <a:avLst/>
          </a:prstGeom>
          <a:solidFill>
            <a:schemeClr val="accent4"/>
          </a:solidFill>
        </p:spPr>
        <p:txBody>
          <a:bodyPr wrap="square" lIns="108000" tIns="108000" rIns="108000" bIns="108000" rtlCol="0">
            <a:spAutoFit/>
          </a:bodyPr>
          <a:lstStyle/>
          <a:p>
            <a:r>
              <a:rPr lang="lt-LT" sz="1600" dirty="0">
                <a:solidFill>
                  <a:schemeClr val="bg1"/>
                </a:solidFill>
              </a:rPr>
              <a:t>Vadovai nepasiruošę ateities darbui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E98815D-0783-2FF4-3980-923F3A0408FF}"/>
              </a:ext>
            </a:extLst>
          </p:cNvPr>
          <p:cNvSpPr txBox="1"/>
          <p:nvPr/>
        </p:nvSpPr>
        <p:spPr>
          <a:xfrm>
            <a:off x="503718" y="3543208"/>
            <a:ext cx="2065498" cy="1449216"/>
          </a:xfrm>
          <a:prstGeom prst="rect">
            <a:avLst/>
          </a:prstGeom>
          <a:solidFill>
            <a:schemeClr val="accent3"/>
          </a:solidFill>
        </p:spPr>
        <p:txBody>
          <a:bodyPr wrap="square" lIns="108000" tIns="108000" rIns="108000" bIns="108000" rtlCol="0">
            <a:spAutoFit/>
          </a:bodyPr>
          <a:lstStyle/>
          <a:p>
            <a:r>
              <a:rPr lang="lt-LT" sz="1600" dirty="0">
                <a:solidFill>
                  <a:schemeClr val="bg1"/>
                </a:solidFill>
              </a:rPr>
              <a:t>Humaniška lyderystė:</a:t>
            </a:r>
          </a:p>
          <a:p>
            <a:r>
              <a:rPr lang="lt-LT" sz="1600" dirty="0">
                <a:solidFill>
                  <a:schemeClr val="bg1"/>
                </a:solidFill>
              </a:rPr>
              <a:t>Autentiškas</a:t>
            </a:r>
          </a:p>
          <a:p>
            <a:r>
              <a:rPr lang="lt-LT" sz="1600" dirty="0">
                <a:solidFill>
                  <a:schemeClr val="bg1"/>
                </a:solidFill>
              </a:rPr>
              <a:t>Empatiškas</a:t>
            </a:r>
          </a:p>
          <a:p>
            <a:r>
              <a:rPr lang="lt-LT" sz="1600" dirty="0">
                <a:solidFill>
                  <a:schemeClr val="bg1"/>
                </a:solidFill>
              </a:rPr>
              <a:t>Adaptyvu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921EC54-6FBB-379E-857B-2C1E66CE7339}"/>
              </a:ext>
            </a:extLst>
          </p:cNvPr>
          <p:cNvSpPr txBox="1"/>
          <p:nvPr/>
        </p:nvSpPr>
        <p:spPr>
          <a:xfrm>
            <a:off x="2781013" y="5263359"/>
            <a:ext cx="2065498" cy="710552"/>
          </a:xfrm>
          <a:prstGeom prst="rect">
            <a:avLst/>
          </a:prstGeom>
          <a:solidFill>
            <a:schemeClr val="accent4"/>
          </a:solidFill>
        </p:spPr>
        <p:txBody>
          <a:bodyPr wrap="square" lIns="108000" tIns="108000" rIns="108000" bIns="108000" rtlCol="0">
            <a:spAutoFit/>
          </a:bodyPr>
          <a:lstStyle/>
          <a:p>
            <a:r>
              <a:rPr lang="lt-LT" sz="1600" dirty="0">
                <a:solidFill>
                  <a:schemeClr val="bg1"/>
                </a:solidFill>
              </a:rPr>
              <a:t>Darbuotojai jaučia pokyčių nuovargį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450BC73-9D67-2658-DCA6-33944BFD2512}"/>
              </a:ext>
            </a:extLst>
          </p:cNvPr>
          <p:cNvSpPr txBox="1"/>
          <p:nvPr/>
        </p:nvSpPr>
        <p:spPr>
          <a:xfrm>
            <a:off x="2781013" y="4035462"/>
            <a:ext cx="2065498" cy="1202994"/>
          </a:xfrm>
          <a:prstGeom prst="rect">
            <a:avLst/>
          </a:prstGeom>
          <a:solidFill>
            <a:schemeClr val="accent3"/>
          </a:solidFill>
        </p:spPr>
        <p:txBody>
          <a:bodyPr wrap="square" lIns="108000" tIns="108000" rIns="108000" bIns="108000" rtlCol="0">
            <a:spAutoFit/>
          </a:bodyPr>
          <a:lstStyle/>
          <a:p>
            <a:r>
              <a:rPr lang="lt-LT" sz="1600" dirty="0" err="1">
                <a:solidFill>
                  <a:schemeClr val="bg1"/>
                </a:solidFill>
              </a:rPr>
              <a:t>Open</a:t>
            </a:r>
            <a:r>
              <a:rPr lang="lt-LT" sz="1600" dirty="0">
                <a:solidFill>
                  <a:schemeClr val="bg1"/>
                </a:solidFill>
              </a:rPr>
              <a:t> </a:t>
            </a:r>
            <a:r>
              <a:rPr lang="lt-LT" sz="1600" dirty="0" err="1">
                <a:solidFill>
                  <a:schemeClr val="bg1"/>
                </a:solidFill>
              </a:rPr>
              <a:t>source</a:t>
            </a:r>
            <a:r>
              <a:rPr lang="lt-LT" sz="1600" dirty="0">
                <a:solidFill>
                  <a:schemeClr val="bg1"/>
                </a:solidFill>
              </a:rPr>
              <a:t> pokyčių strategija: atviri, įtraukiantys pokalbiai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889D691-847D-4366-9868-1AB74ED151B6}"/>
              </a:ext>
            </a:extLst>
          </p:cNvPr>
          <p:cNvSpPr txBox="1"/>
          <p:nvPr/>
        </p:nvSpPr>
        <p:spPr>
          <a:xfrm>
            <a:off x="5063252" y="4965123"/>
            <a:ext cx="2065498" cy="1018328"/>
          </a:xfrm>
          <a:prstGeom prst="rect">
            <a:avLst/>
          </a:prstGeom>
          <a:solidFill>
            <a:schemeClr val="accent4"/>
          </a:solidFill>
        </p:spPr>
        <p:txBody>
          <a:bodyPr wrap="square" lIns="108000" tIns="108000" rIns="108000" bIns="108000" rtlCol="0">
            <a:spAutoFit/>
          </a:bodyPr>
          <a:lstStyle/>
          <a:p>
            <a:r>
              <a:rPr lang="lt-LT" sz="1300" dirty="0">
                <a:solidFill>
                  <a:schemeClr val="bg1"/>
                </a:solidFill>
              </a:rPr>
              <a:t>Organizacijos paliekamos tiek dėl atlygio, tiek dėl karjeros galimybių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30B2473-C8A4-F750-396B-B72C7B5F4D6E}"/>
              </a:ext>
            </a:extLst>
          </p:cNvPr>
          <p:cNvSpPr txBox="1"/>
          <p:nvPr/>
        </p:nvSpPr>
        <p:spPr>
          <a:xfrm>
            <a:off x="5063252" y="3922610"/>
            <a:ext cx="2065498" cy="1018328"/>
          </a:xfrm>
          <a:prstGeom prst="rect">
            <a:avLst/>
          </a:prstGeom>
          <a:solidFill>
            <a:schemeClr val="accent3"/>
          </a:solidFill>
        </p:spPr>
        <p:txBody>
          <a:bodyPr wrap="square" lIns="108000" tIns="108000" rIns="108000" bIns="108000" rtlCol="0">
            <a:spAutoFit/>
          </a:bodyPr>
          <a:lstStyle/>
          <a:p>
            <a:r>
              <a:rPr lang="lt-LT" sz="1300" dirty="0">
                <a:solidFill>
                  <a:schemeClr val="bg1"/>
                </a:solidFill>
              </a:rPr>
              <a:t>Dalinimasis, kokie įvairūs gali būti karjeros keliai; kanalai reflektuoti apie karjeros galimyb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377EE3C-E3DA-4B21-A22B-D5090F6D1EB7}"/>
              </a:ext>
            </a:extLst>
          </p:cNvPr>
          <p:cNvSpPr txBox="1"/>
          <p:nvPr/>
        </p:nvSpPr>
        <p:spPr>
          <a:xfrm>
            <a:off x="7343017" y="5257438"/>
            <a:ext cx="2065498" cy="710552"/>
          </a:xfrm>
          <a:prstGeom prst="rect">
            <a:avLst/>
          </a:prstGeom>
          <a:solidFill>
            <a:schemeClr val="accent4"/>
          </a:solidFill>
        </p:spPr>
        <p:txBody>
          <a:bodyPr wrap="square" lIns="108000" tIns="108000" rIns="108000" bIns="108000" rtlCol="0">
            <a:spAutoFit/>
          </a:bodyPr>
          <a:lstStyle/>
          <a:p>
            <a:pPr lvl="0"/>
            <a:r>
              <a:rPr lang="lt-LT" sz="1600" dirty="0">
                <a:solidFill>
                  <a:schemeClr val="bg1"/>
                </a:solidFill>
              </a:rPr>
              <a:t>Pasiūla maža, sunku pritraukti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AADE81B-D558-DA1F-880F-C36E03B47854}"/>
              </a:ext>
            </a:extLst>
          </p:cNvPr>
          <p:cNvSpPr txBox="1"/>
          <p:nvPr/>
        </p:nvSpPr>
        <p:spPr>
          <a:xfrm>
            <a:off x="7343017" y="4029541"/>
            <a:ext cx="2065498" cy="1202994"/>
          </a:xfrm>
          <a:prstGeom prst="rect">
            <a:avLst/>
          </a:prstGeom>
          <a:solidFill>
            <a:schemeClr val="accent3"/>
          </a:solidFill>
        </p:spPr>
        <p:txBody>
          <a:bodyPr wrap="square" lIns="108000" tIns="108000" rIns="108000" bIns="108000" rtlCol="0">
            <a:spAutoFit/>
          </a:bodyPr>
          <a:lstStyle/>
          <a:p>
            <a:pPr lvl="0"/>
            <a:r>
              <a:rPr lang="en-US" sz="1600" dirty="0">
                <a:solidFill>
                  <a:schemeClr val="bg1"/>
                </a:solidFill>
              </a:rPr>
              <a:t>Vidin</a:t>
            </a:r>
            <a:r>
              <a:rPr lang="lt-LT" sz="1600" dirty="0">
                <a:solidFill>
                  <a:schemeClr val="bg1"/>
                </a:solidFill>
              </a:rPr>
              <a:t>ė darbuotojų rinka ir vadovų skatinimas už auginimą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00675CD-E575-6C77-9A67-4B4078A945D8}"/>
              </a:ext>
            </a:extLst>
          </p:cNvPr>
          <p:cNvSpPr txBox="1"/>
          <p:nvPr/>
        </p:nvSpPr>
        <p:spPr>
          <a:xfrm>
            <a:off x="9609740" y="5257438"/>
            <a:ext cx="2065498" cy="679774"/>
          </a:xfrm>
          <a:prstGeom prst="rect">
            <a:avLst/>
          </a:prstGeom>
          <a:solidFill>
            <a:schemeClr val="accent4"/>
          </a:solidFill>
        </p:spPr>
        <p:txBody>
          <a:bodyPr wrap="square" lIns="108000" tIns="108000" rIns="108000" bIns="108000" rtlCol="0">
            <a:spAutoFit/>
          </a:bodyPr>
          <a:lstStyle/>
          <a:p>
            <a:pPr lvl="0"/>
            <a:r>
              <a:rPr lang="lt-LT" sz="1500" dirty="0">
                <a:solidFill>
                  <a:schemeClr val="bg1"/>
                </a:solidFill>
              </a:rPr>
              <a:t>Tik FTE prognozavima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8B2CC1B-4968-C31B-24A6-B356EFDAA6FC}"/>
              </a:ext>
            </a:extLst>
          </p:cNvPr>
          <p:cNvSpPr txBox="1"/>
          <p:nvPr/>
        </p:nvSpPr>
        <p:spPr>
          <a:xfrm>
            <a:off x="9609740" y="4368095"/>
            <a:ext cx="2065498" cy="864440"/>
          </a:xfrm>
          <a:prstGeom prst="rect">
            <a:avLst/>
          </a:prstGeom>
          <a:solidFill>
            <a:schemeClr val="accent3"/>
          </a:solidFill>
        </p:spPr>
        <p:txBody>
          <a:bodyPr wrap="square" lIns="108000" tIns="108000" rIns="108000" bIns="108000" rtlCol="0">
            <a:spAutoFit/>
          </a:bodyPr>
          <a:lstStyle/>
          <a:p>
            <a:pPr lvl="0"/>
            <a:r>
              <a:rPr lang="lt-LT" sz="1400" dirty="0">
                <a:solidFill>
                  <a:schemeClr val="bg1"/>
                </a:solidFill>
              </a:rPr>
              <a:t>Lankstumas ir trumpesnės planavimo distancijos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54984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E3FDE-D8B1-643F-E47C-6ADD6ACB0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786" y="500468"/>
            <a:ext cx="10620375" cy="1052892"/>
          </a:xfrm>
        </p:spPr>
        <p:txBody>
          <a:bodyPr/>
          <a:lstStyle/>
          <a:p>
            <a:r>
              <a:rPr lang="lt-LT" b="0" dirty="0">
                <a:latin typeface="Arial" panose="020B0604020202020204" pitchFamily="34" charset="0"/>
                <a:cs typeface="Arial" panose="020B0604020202020204" pitchFamily="34" charset="0"/>
              </a:rPr>
              <a:t>Kas išryškėjo </a:t>
            </a:r>
            <a:r>
              <a:rPr lang="lt-LT" b="0" dirty="0" err="1">
                <a:latin typeface="Arial" panose="020B0604020202020204" pitchFamily="34" charset="0"/>
                <a:cs typeface="Arial" panose="020B0604020202020204" pitchFamily="34" charset="0"/>
              </a:rPr>
              <a:t>popandeminiame</a:t>
            </a:r>
            <a:r>
              <a:rPr lang="lt-LT" b="0" dirty="0">
                <a:latin typeface="Arial" panose="020B0604020202020204" pitchFamily="34" charset="0"/>
                <a:cs typeface="Arial" panose="020B0604020202020204" pitchFamily="34" charset="0"/>
              </a:rPr>
              <a:t> darbiniame pasaulyj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8FBEE1-A6F9-D4E2-670D-13972345FDB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5786" y="1864820"/>
            <a:ext cx="5111750" cy="4175125"/>
          </a:xfrm>
        </p:spPr>
        <p:txBody>
          <a:bodyPr/>
          <a:lstStyle/>
          <a:p>
            <a:r>
              <a:rPr lang="lt-LT" dirty="0">
                <a:latin typeface="Arial" panose="020B0604020202020204" pitchFamily="34" charset="0"/>
                <a:cs typeface="Arial" panose="020B0604020202020204" pitchFamily="34" charset="0"/>
              </a:rPr>
              <a:t>Neįmanoma misija atskirti darbą ir asmeninį gyvenimą</a:t>
            </a:r>
          </a:p>
          <a:p>
            <a:r>
              <a:rPr lang="lt-LT" dirty="0">
                <a:latin typeface="Arial" panose="020B0604020202020204" pitchFamily="34" charset="0"/>
                <a:cs typeface="Arial" panose="020B0604020202020204" pitchFamily="34" charset="0"/>
              </a:rPr>
              <a:t>Žmogus į darbą ateina visas ir tai veikia darbinę aplinką</a:t>
            </a:r>
          </a:p>
          <a:p>
            <a:r>
              <a:rPr lang="lt-LT" dirty="0">
                <a:latin typeface="Arial" panose="020B0604020202020204" pitchFamily="34" charset="0"/>
                <a:cs typeface="Arial" panose="020B0604020202020204" pitchFamily="34" charset="0"/>
              </a:rPr>
              <a:t>Pasitikėjimu grįstas santykis: nuo tėvų-vaikų iki suaugusio – suaugusio</a:t>
            </a:r>
          </a:p>
          <a:p>
            <a:endParaRPr lang="lt-L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504D46-D0AE-7535-4E68-D2EFE83F8A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F604824-74D1-4F8D-6E72-C8689EF684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4E52F3-F7FE-9E90-B36B-9FCF512D7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9</a:t>
            </a:fld>
            <a:endParaRPr lang="en-GB" dirty="0"/>
          </a:p>
        </p:txBody>
      </p:sp>
      <p:pic>
        <p:nvPicPr>
          <p:cNvPr id="1026" name="Picture 2" descr="Karnac Books - specialist psychoanalysis, psychotherapy and related ...">
            <a:extLst>
              <a:ext uri="{FF2B5EF4-FFF2-40B4-BE49-F238E27FC236}">
                <a16:creationId xmlns:a16="http://schemas.microsoft.com/office/drawing/2014/main" id="{759F0FCD-7687-344F-B13A-29D3CDE359EB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7247" y="1763713"/>
            <a:ext cx="2609453" cy="417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A7A8F7DC-DD08-2459-ECFE-96E1A2D33E6B}"/>
              </a:ext>
            </a:extLst>
          </p:cNvPr>
          <p:cNvSpPr/>
          <p:nvPr/>
        </p:nvSpPr>
        <p:spPr>
          <a:xfrm>
            <a:off x="874988" y="4204253"/>
            <a:ext cx="5605670" cy="1835692"/>
          </a:xfrm>
          <a:prstGeom prst="right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t-LT" sz="2000" noProof="0" dirty="0">
                <a:latin typeface="Arial" panose="020B0604020202020204" pitchFamily="34" charset="0"/>
                <a:cs typeface="Arial" panose="020B0604020202020204" pitchFamily="34" charset="0"/>
              </a:rPr>
              <a:t>Puiki viso to iliustracija </a:t>
            </a:r>
            <a:r>
              <a:rPr lang="lt-LT" sz="2000" noProof="0" dirty="0" err="1">
                <a:latin typeface="Arial" panose="020B0604020202020204" pitchFamily="34" charset="0"/>
                <a:cs typeface="Arial" panose="020B0604020202020204" pitchFamily="34" charset="0"/>
              </a:rPr>
              <a:t>G.Braun</a:t>
            </a:r>
            <a:r>
              <a:rPr lang="lt-LT" sz="2000" noProof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lt-LT" sz="2000" noProof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lt-LT" sz="2000" noProof="0" dirty="0">
                <a:latin typeface="Arial" panose="020B0604020202020204" pitchFamily="34" charset="0"/>
                <a:cs typeface="Arial" panose="020B0604020202020204" pitchFamily="34" charset="0"/>
              </a:rPr>
              <a:t>knygoje „</a:t>
            </a:r>
            <a:r>
              <a:rPr lang="lt-LT" sz="2000" noProof="0" dirty="0" err="1">
                <a:latin typeface="Arial" panose="020B0604020202020204" pitchFamily="34" charset="0"/>
                <a:cs typeface="Arial" panose="020B0604020202020204" pitchFamily="34" charset="0"/>
              </a:rPr>
              <a:t>All</a:t>
            </a:r>
            <a:r>
              <a:rPr lang="lt-LT" sz="2000" noProof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lt-LT" sz="2000" noProof="0" dirty="0" err="1">
                <a:latin typeface="Arial" panose="020B0604020202020204" pitchFamily="34" charset="0"/>
                <a:cs typeface="Arial" panose="020B0604020202020204" pitchFamily="34" charset="0"/>
              </a:rPr>
              <a:t>that</a:t>
            </a:r>
            <a:r>
              <a:rPr lang="lt-LT" sz="2000" noProof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lt-LT" sz="2000" noProof="0" dirty="0" err="1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lt-LT" sz="2000" noProof="0" dirty="0">
                <a:latin typeface="Arial" panose="020B0604020202020204" pitchFamily="34" charset="0"/>
                <a:cs typeface="Arial" panose="020B0604020202020204" pitchFamily="34" charset="0"/>
              </a:rPr>
              <a:t> are“</a:t>
            </a:r>
          </a:p>
        </p:txBody>
      </p:sp>
    </p:spTree>
    <p:extLst>
      <p:ext uri="{BB962C8B-B14F-4D97-AF65-F5344CB8AC3E}">
        <p14:creationId xmlns:p14="http://schemas.microsoft.com/office/powerpoint/2010/main" val="5600904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wedbank">
  <a:themeElements>
    <a:clrScheme name="Swedbank">
      <a:dk1>
        <a:srgbClr val="000000"/>
      </a:dk1>
      <a:lt1>
        <a:sysClr val="window" lastClr="FFFFFF"/>
      </a:lt1>
      <a:dk2>
        <a:srgbClr val="512B2B"/>
      </a:dk2>
      <a:lt2>
        <a:srgbClr val="FFFFFF"/>
      </a:lt2>
      <a:accent1>
        <a:srgbClr val="FF5F00"/>
      </a:accent1>
      <a:accent2>
        <a:srgbClr val="FDC92A"/>
      </a:accent2>
      <a:accent3>
        <a:srgbClr val="31A3AE"/>
      </a:accent3>
      <a:accent4>
        <a:srgbClr val="C5569A"/>
      </a:accent4>
      <a:accent5>
        <a:srgbClr val="FF9102"/>
      </a:accent5>
      <a:accent6>
        <a:srgbClr val="8ACDC3"/>
      </a:accent6>
      <a:hlink>
        <a:srgbClr val="FF5F00"/>
      </a:hlink>
      <a:folHlink>
        <a:srgbClr val="FDC92A"/>
      </a:folHlink>
    </a:clrScheme>
    <a:fontScheme name="Swedbank">
      <a:majorFont>
        <a:latin typeface="Swedbank Headline Black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 sz="22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200" dirty="0" err="1" smtClean="0">
            <a:solidFill>
              <a:srgbClr val="512B2B"/>
            </a:solidFill>
          </a:defRPr>
        </a:defPPr>
      </a:lstStyle>
    </a:txDef>
  </a:objectDefaults>
  <a:extraClrSchemeLst/>
  <a:custClrLst>
    <a:custClr name="White">
      <a:srgbClr val="FFFFFF"/>
    </a:custClr>
    <a:custClr name="Black">
      <a:srgbClr val="000000"/>
    </a:custClr>
    <a:custClr name="White">
      <a:srgbClr val="FFFFFF"/>
    </a:custClr>
    <a:custClr name="Bark">
      <a:srgbClr val="512B2B"/>
    </a:custClr>
    <a:custClr name="Swedbank Orange">
      <a:srgbClr val="FF5F00"/>
    </a:custClr>
    <a:custClr name="Pineapple">
      <a:srgbClr val="FDC92A"/>
    </a:custClr>
    <a:custClr name="Turquoise">
      <a:srgbClr val="31A3AE"/>
    </a:custClr>
    <a:custClr name="Lilac">
      <a:srgbClr val="C5569A"/>
    </a:custClr>
    <a:custClr name="Tangerine">
      <a:srgbClr val="FF9102"/>
    </a:custClr>
    <a:custClr name="Seafoam">
      <a:srgbClr val="8ACDC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Tangerine">
      <a:srgbClr val="FF9102"/>
    </a:custClr>
    <a:custClr>
      <a:srgbClr val="FFFFFF"/>
    </a:custClr>
    <a:custClr name="Aqua">
      <a:srgbClr val="BBEAD9"/>
    </a:custClr>
    <a:custClr name="Lavender">
      <a:srgbClr val="D28AC5"/>
    </a:custClr>
    <a:custClr>
      <a:srgbClr val="FFFFFF"/>
    </a:custClr>
    <a:custClr name="Aqua">
      <a:srgbClr val="BBEAD9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ineapple">
      <a:srgbClr val="FDC92A"/>
    </a:custClr>
    <a:custClr>
      <a:srgbClr val="FFFFFF"/>
    </a:custClr>
    <a:custClr name="Sky">
      <a:srgbClr val="DBF8ED"/>
    </a:custClr>
    <a:custClr name="Iris">
      <a:srgbClr val="F8DBF5"/>
    </a:custClr>
    <a:custClr>
      <a:srgbClr val="FFFFFF"/>
    </a:custClr>
    <a:custClr name="Sky">
      <a:srgbClr val="DBF8E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ach">
      <a:srgbClr val="FFF1CD"/>
    </a:custClr>
    <a:custClr>
      <a:srgbClr val="FFFFFF"/>
    </a:custClr>
    <a:custClr name="Mist">
      <a:srgbClr val="EBF9F3"/>
    </a:custClr>
    <a:custClr name="Rose">
      <a:srgbClr val="FFECFF"/>
    </a:custClr>
    <a:custClr>
      <a:srgbClr val="FFFFFF"/>
    </a:custClr>
    <a:custClr name="Mist">
      <a:srgbClr val="EBF9F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Apricot">
      <a:srgbClr val="FAEFE5"/>
    </a:custClr>
    <a:custClr>
      <a:srgbClr val="FFFFFF"/>
    </a:custClr>
    <a:custClr name="Teal">
      <a:srgbClr val="257886"/>
    </a:custClr>
    <a:custClr name="Tulip">
      <a:srgbClr val="990066"/>
    </a:custClr>
    <a:custClr>
      <a:srgbClr val="FFFFFF"/>
    </a:custClr>
    <a:custClr name="Teal">
      <a:srgbClr val="257886"/>
    </a:custClr>
  </a:custClrLst>
  <a:extLst>
    <a:ext uri="{05A4C25C-085E-4340-85A3-A5531E510DB2}">
      <thm15:themeFamily xmlns:thm15="http://schemas.microsoft.com/office/thememl/2012/main" name="Swedbank standard.pptx" id="{87CCE877-DFD7-4CAF-A5CA-F99D9CFF7209}" vid="{E25C8262-B513-4DE0-9D79-FAB7753884CB}"/>
    </a:ext>
  </a:extLst>
</a:theme>
</file>

<file path=ppt/theme/theme2.xml><?xml version="1.0" encoding="utf-8"?>
<a:theme xmlns:a="http://schemas.openxmlformats.org/drawingml/2006/main" name="Office-tema">
  <a:themeElements>
    <a:clrScheme name="Swedbank">
      <a:dk1>
        <a:srgbClr val="000000"/>
      </a:dk1>
      <a:lt1>
        <a:sysClr val="window" lastClr="FFFFFF"/>
      </a:lt1>
      <a:dk2>
        <a:srgbClr val="512B2B"/>
      </a:dk2>
      <a:lt2>
        <a:srgbClr val="FFFFFF"/>
      </a:lt2>
      <a:accent1>
        <a:srgbClr val="FF5F00"/>
      </a:accent1>
      <a:accent2>
        <a:srgbClr val="FDC92A"/>
      </a:accent2>
      <a:accent3>
        <a:srgbClr val="31A3AE"/>
      </a:accent3>
      <a:accent4>
        <a:srgbClr val="C5569A"/>
      </a:accent4>
      <a:accent5>
        <a:srgbClr val="FF9102"/>
      </a:accent5>
      <a:accent6>
        <a:srgbClr val="8ACDC3"/>
      </a:accent6>
      <a:hlink>
        <a:srgbClr val="FF5F00"/>
      </a:hlink>
      <a:folHlink>
        <a:srgbClr val="FDC92A"/>
      </a:folHlink>
    </a:clrScheme>
    <a:fontScheme name="Swedbank">
      <a:majorFont>
        <a:latin typeface="Swedbank Headline Black"/>
        <a:ea typeface=""/>
        <a:cs typeface=""/>
      </a:majorFont>
      <a:minorFont>
        <a:latin typeface="Roboto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hite">
      <a:srgbClr val="FFFFFF"/>
    </a:custClr>
    <a:custClr name="Black">
      <a:srgbClr val="000000"/>
    </a:custClr>
    <a:custClr name="White">
      <a:srgbClr val="FFFFFF"/>
    </a:custClr>
    <a:custClr name="Bark">
      <a:srgbClr val="512B2B"/>
    </a:custClr>
    <a:custClr name="Swedbank Orange">
      <a:srgbClr val="FF5F00"/>
    </a:custClr>
    <a:custClr name="Pineapple">
      <a:srgbClr val="FDC92A"/>
    </a:custClr>
    <a:custClr name="Turquoise">
      <a:srgbClr val="31A3AE"/>
    </a:custClr>
    <a:custClr name="Lilac">
      <a:srgbClr val="C5569A"/>
    </a:custClr>
    <a:custClr name="Tangerine">
      <a:srgbClr val="FF9102"/>
    </a:custClr>
    <a:custClr name="Seafoam">
      <a:srgbClr val="8ACDC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Tangerine">
      <a:srgbClr val="FF9102"/>
    </a:custClr>
    <a:custClr>
      <a:srgbClr val="FFFFFF"/>
    </a:custClr>
    <a:custClr name="Aqua">
      <a:srgbClr val="BBEAD9"/>
    </a:custClr>
    <a:custClr name="Lavender">
      <a:srgbClr val="D28AC5"/>
    </a:custClr>
    <a:custClr>
      <a:srgbClr val="FFFFFF"/>
    </a:custClr>
    <a:custClr name="Aqua">
      <a:srgbClr val="BBEAD9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ineapple">
      <a:srgbClr val="FDC92A"/>
    </a:custClr>
    <a:custClr>
      <a:srgbClr val="FFFFFF"/>
    </a:custClr>
    <a:custClr name="Sky">
      <a:srgbClr val="DBF8ED"/>
    </a:custClr>
    <a:custClr name="Iris">
      <a:srgbClr val="F8DBF5"/>
    </a:custClr>
    <a:custClr>
      <a:srgbClr val="FFFFFF"/>
    </a:custClr>
    <a:custClr name="Sky">
      <a:srgbClr val="DBF8E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ach">
      <a:srgbClr val="FFF1CD"/>
    </a:custClr>
    <a:custClr>
      <a:srgbClr val="FFFFFF"/>
    </a:custClr>
    <a:custClr name="Mist">
      <a:srgbClr val="EBF9F3"/>
    </a:custClr>
    <a:custClr name="Rose">
      <a:srgbClr val="FFECFF"/>
    </a:custClr>
    <a:custClr>
      <a:srgbClr val="FFFFFF"/>
    </a:custClr>
    <a:custClr name="Mist">
      <a:srgbClr val="EBF9F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Apricot">
      <a:srgbClr val="FAEFE5"/>
    </a:custClr>
    <a:custClr>
      <a:srgbClr val="FFFFFF"/>
    </a:custClr>
    <a:custClr name="Teal">
      <a:srgbClr val="257886"/>
    </a:custClr>
    <a:custClr name="Tulip">
      <a:srgbClr val="990066"/>
    </a:custClr>
    <a:custClr>
      <a:srgbClr val="FFFFFF"/>
    </a:custClr>
    <a:custClr name="Teal">
      <a:srgbClr val="257886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Swedbank">
      <a:dk1>
        <a:srgbClr val="000000"/>
      </a:dk1>
      <a:lt1>
        <a:sysClr val="window" lastClr="FFFFFF"/>
      </a:lt1>
      <a:dk2>
        <a:srgbClr val="512B2B"/>
      </a:dk2>
      <a:lt2>
        <a:srgbClr val="FFFFFF"/>
      </a:lt2>
      <a:accent1>
        <a:srgbClr val="FF5F00"/>
      </a:accent1>
      <a:accent2>
        <a:srgbClr val="FDC92A"/>
      </a:accent2>
      <a:accent3>
        <a:srgbClr val="31A3AE"/>
      </a:accent3>
      <a:accent4>
        <a:srgbClr val="C5569A"/>
      </a:accent4>
      <a:accent5>
        <a:srgbClr val="FF9102"/>
      </a:accent5>
      <a:accent6>
        <a:srgbClr val="8ACDC3"/>
      </a:accent6>
      <a:hlink>
        <a:srgbClr val="FF5F00"/>
      </a:hlink>
      <a:folHlink>
        <a:srgbClr val="FDC92A"/>
      </a:folHlink>
    </a:clrScheme>
    <a:fontScheme name="Swedbank">
      <a:majorFont>
        <a:latin typeface="Swedbank Headline Black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hite">
      <a:srgbClr val="FFFFFF"/>
    </a:custClr>
    <a:custClr name="Black">
      <a:srgbClr val="000000"/>
    </a:custClr>
    <a:custClr name="White">
      <a:srgbClr val="FFFFFF"/>
    </a:custClr>
    <a:custClr name="Bark">
      <a:srgbClr val="512B2B"/>
    </a:custClr>
    <a:custClr name="Swedbank Orange">
      <a:srgbClr val="FF5F00"/>
    </a:custClr>
    <a:custClr name="Pineapple">
      <a:srgbClr val="FDC92A"/>
    </a:custClr>
    <a:custClr name="Turquoise">
      <a:srgbClr val="31A3AE"/>
    </a:custClr>
    <a:custClr name="Lilac">
      <a:srgbClr val="C5569A"/>
    </a:custClr>
    <a:custClr name="Tangerine">
      <a:srgbClr val="FF9102"/>
    </a:custClr>
    <a:custClr name="Seafoam">
      <a:srgbClr val="8ACDC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Tangerine">
      <a:srgbClr val="FF9102"/>
    </a:custClr>
    <a:custClr>
      <a:srgbClr val="FFFFFF"/>
    </a:custClr>
    <a:custClr name="Aqua">
      <a:srgbClr val="BBEAD9"/>
    </a:custClr>
    <a:custClr name="Lavender">
      <a:srgbClr val="D28AC5"/>
    </a:custClr>
    <a:custClr>
      <a:srgbClr val="FFFFFF"/>
    </a:custClr>
    <a:custClr name="Aqua">
      <a:srgbClr val="BBEAD9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ineapple">
      <a:srgbClr val="FDC92A"/>
    </a:custClr>
    <a:custClr>
      <a:srgbClr val="FFFFFF"/>
    </a:custClr>
    <a:custClr name="Sky">
      <a:srgbClr val="DBF8ED"/>
    </a:custClr>
    <a:custClr name="Iris">
      <a:srgbClr val="F8DBF5"/>
    </a:custClr>
    <a:custClr>
      <a:srgbClr val="FFFFFF"/>
    </a:custClr>
    <a:custClr name="Sky">
      <a:srgbClr val="DBF8E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ach">
      <a:srgbClr val="FFF1CD"/>
    </a:custClr>
    <a:custClr>
      <a:srgbClr val="FFFFFF"/>
    </a:custClr>
    <a:custClr name="Mist">
      <a:srgbClr val="EBF9F3"/>
    </a:custClr>
    <a:custClr name="Rose">
      <a:srgbClr val="FFECFF"/>
    </a:custClr>
    <a:custClr>
      <a:srgbClr val="FFFFFF"/>
    </a:custClr>
    <a:custClr name="Mist">
      <a:srgbClr val="EBF9F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Apricot">
      <a:srgbClr val="FAEFE5"/>
    </a:custClr>
    <a:custClr>
      <a:srgbClr val="FFFFFF"/>
    </a:custClr>
    <a:custClr name="Teal">
      <a:srgbClr val="257886"/>
    </a:custClr>
    <a:custClr name="Tulip">
      <a:srgbClr val="990066"/>
    </a:custClr>
    <a:custClr>
      <a:srgbClr val="FFFFFF"/>
    </a:custClr>
    <a:custClr name="Teal">
      <a:srgbClr val="257886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documentContentValidatorConfiguration":{"enableDocumentContentValidator":false,"documentContentValidatorVersion":0},"elementsMetadata":[],"slideId":"637510499333422065","enableDocumentContentUpdater":true,"version":"1.2"}]]></TemplafySlideTemplateConfiguration>
</file>

<file path=customXml/item10.xml><?xml version="1.0" encoding="utf-8"?>
<PpStyles><![CDATA[{"Styles":[{"Base64Png":"data:image/png;base64,iVBORw0KGgoAAAANSUhEUgAAASEAAAAuCAYAAABnPK96AAAAAXNSR0IArs4c6QAAAARnQU1BAACxjwv8YQUAAAAJcEhZcwAADsMAAA7DAcdvqGQAAApjSURBVHhe7ZyxzuW2EYX3BfMMaf0QeYQA6VO5S5XGTaoA6eLOaVIEqVwFBlLETdobHnpmIvIezpAUda/+f/kBB8buPRpR5GhEUlp/2Ww2m80befz3P4/H9394PH795Rd9+83j8c+/PuTnzeZydg5WPH747v+dQSS2IXKnklhZf/zN2zo7D36rbX/5/YdNAno9qjf292cHfUv7XCS2gs+ag6d4/Om3vENUP/5tqGMeP//E46jeWYSOTx+mf/3jQyYBvRbVLkKXMVWEPmkOniLqSHSaWLt4/P3PPM5BYn05rC2FBq/1LtBrUe0idBlTRYj4Cn3QHDzF43e/4p2hSr+LtYuwqCWJ9eWwthT6oDcsvRbVLkKXcUkR+hrHi3ZErX//2NUxeb3Ljq+VfHLIS3H3qqAfvvuQCUCvRbWL0GVMFaFPmoOnoB1Rq3OKiB1+enytN617w6Xizz99yASg16LaRegyporQJ83BaVAMaEfUStVbDnEJN7lVb9x8wxsI2qYP/IqUXo9qF6HLmClC4DPm4DTdRQgKKnT3Ugx685QzXzfeUiCJ8InCB3/60D5W7SJ0GbNFCHy2HJyme/kEpWmkHEbBq3x6HNPXuO69ENrHql2ELuNMEfrayPWB7QXnCkw6jypYkjWnmExf60dZF0H7WLWL0GXsIuSTV0fYA9M38Gy5maeDVce5cqaM1N9S542B8+WLwF5TPeB4y4C/G5jKFsfXctpE/arD/pZ1OktOXAN+u+DN4NO5jjpcV24fZr9oS/1pBtp8on02VngY1dePc+HvkG+DH78eWZ0PLfJ5dKlUnwPxpY+efq+Ug1UwnynFE9sT1K96QQ66fY8/a2z4IDYpYROZqBOf1Ng4G1qKQU5ng7xeHm0b/MGnBPQ4ldMm6lfJ0nJoaXviRmTQc6jkuobGqDHOjKmxgqTfergqH2ryDYybicWrlWJHbZKwBcxnkrFiUL/qwhzsuc4h1WMyHDwNkBxaMDyjSpJDC4aSoCXnBqJ+1WwCoOKPDL5q4EaPoPFVGOOZ9nUk6cy4F8LMwikUV+fDkXyzseM9of3s70USuoD5TDfLwamYkeqtGGqKRKZy4VfXRHJowbKLbtxA1KuaTYCJazdNTIsZNLbqovbR6fasGsunq/NBycsHdtxJSfgC5jPdKAcvKUAo2mnJJqf4BWqMVFXPqScI1HgCnupQVYoh4QqoVzWbAGdUD8gkNPYKNdq3tABBbK9AuDIflGhGMysJX8B8ppvk4PKijBkze9DkqS47IFI1nZqekh82044sq8BVsQTUp3pHAjjnHIHGXiHSvq69Jd2kxF4O/D05QsYLXJkPYFl8IjlFAfOZbpKD4XjhwYAHETbp8d/oQdF62OYEYQd0SEJkpp9UrSVTXRz1YtFeFf4cnZfsX1GfakUCoE1oG9T5dJVTnILFpVrQvrDfWzNcjKu3v5PiirXgynwA4XEQ+kr7bWCPSk5RwHymm+Sge1w1CVHyuDA/1LquPHjsAJU3OFJAwmmbFyN1Um4IIT89U/vkj5RwJpfOLVaD+lRnE4AMjjswIrGegsV90oL2hTlzdsxaBeyqfEBc5j2qtVzpuMHFXsB8ppvkIPOYUj+LrSDqf7GV5EpJzFkoHt6UTC42T7nZ7xAuPnUq/Q1yilAvbvwksRnMYzqTAI1jwxsjSaynYHELLWqfmxPkJme4MU7mxHA+RMuOxuwJ9OyFirWA+Uw3yUHmUYmFwvwqsZS4RQiDGXRyjuE9DfCU8ZLCGWCQOw/r9aiYOZJQBvOYziSAzAwZUdvFdgoWt9Ci9s2OQ7e8MbgiH6I4Tr+BaGkmtgLmM3nXz/xHLcxB975u7O+4E5IUT2wl7jRNOsNdTqHIsL8X5eODQgdPTU4277gBSUiDeUwnEkBslNEEmIHFLZT6VKxPjLSP/b5UJFnflg9JYmsStUtsBcxnukkOhjNE1A7c/1ie479eLYFSP0noErdhclA0/aZ/D8ksxx0ktkZHwnWstXslYQ3mMc0mQKvKC6MJMAOLawqWSSPtY7+vlpwq89Z8SBJbk+jNmtgKmM90kxzM/U5802o9BN2GaREKZjtNyevQntnSkZUJB0lYg3lMswngHAdGE2AGFte0sH3s99WSU2Xemg9JYmtymyJ0QQ5G19YtqQUUeoAqFQ+xzSWeVL7obUo+gdB10Zj2YXal8mZjSRLaYB7TjRJgFBbXtLB9UX/nWCclp3p/PiSJrUk+JzlOJbYC5jMdrr+G+lXOcSD3LTtOJLYnwmVWJK8AAXqQ6vA6dLghx0SK3iAczxN9f0Fe3452LvOYbpYAI7C4poXtc73Bsm+Ul+RD4D8+jBm32Zh2jgOj/QJOFSCcj4xPQVgcDgGGl2TV7jn1qI5FiP2u+p7/P65HO5d5TDdKgFFYXNPC9kVP/tabkxlofNWqfIhuNNnbZIT3UJJYC5jP5IwV9asWjjFovunC8hh9Vi+T8WecA8exf57BGFkmAeZpqmoE9agO0zX6uyolv9gKqPcgsRnMY7pJAszA4poWti/8OBWKpuCJnKxYOjkJS2OrVuVDzwOWFNbbfay4OAfptWG8WhvMMwxvGEdTY1VqvBxiuB1wSCb6uypVX7EZPXsGYjWYx3STBJiBxTUtbl/kz4IHOXZI2jxz0OKjPiR7I7GLeLUW5QNgviehnZgFQr33QpKcooD5TM5YUb9q9RgTD7u3T5E7k50IYoWkY4CzyBPK7YDDtDoPNPOojku3jqkwJHaDeUw3SYAZWFzT4vZFs+hhNQrRK/IBuPfCSckpCpjPdJMcZJ4sjIkWYybUicO4uOQD2EkgckFIEuqtddhLUtx19+Fc4QdSEDohSs6DJLTBPKabJMAMLK7pgva5+TMj0sZX5IMyEmNEEr6A+UzOWFG/avEYj8z2mkIMryC5J0m/ia0gupDW25Hegtdd6AYkoQ3mMd0kAWZgcU0XtS/c1B0R8rGaDb0iH5TemdSoJHwB85lukoNLZ7uNlwh+o1LREFtBc8dc1XpjERwntkz3sk81EBswj+kmCTADi2u6sH1LZkRk41e5Oh+ODBci9FswY5DQBcxncsaK+lUXjPHShwzZw/M/OmsVoejNSGPqFVVVsRndnwTANxqbeEw3SoBRWFzTxe3LN28QgwpJ7rwdU67Mh5qc4z3XguUbZmpBEZawBcxncsaK+lWLx7i7z0dU1wdqUjWKCfDWzmJ5IkqMehoO8gDjKVh3Hv6Mp93hmOL3SmIxmMd0kwSYgcU1vah9+QbG2GB2wGLi71B4qvHr4ap8aJELK/akgvPNFD3mM6X4YnuC+lXOceDpOiqJLZP7mnhOq7HNs9lsNgXuCwG2rErYQ4Idc5DYN5vNps3MVo0SvdEU22az2bRhxcPUetMlzOyRbTabTQErHoXIt4AgL8m8760an/BsNptNQbSJnYUXDNgDwsY8hM16bxkHNfaTNpvNpmD426xeNWZQm81m80TXbGhEwV7SZrPZFOT9neBr8G7tArTZbGbJX07P/uNezKacD583m82mm/wFufc1vBYd/SLe/ec4X778DyIt4cb2sLOpAAAAAElFTkSuQmCC","Name":"Main heading","Paragraph":{"Font":{"Name":"Swedbank Headline Black","NameFarEast":"+mn-ea","NameComplexScript":"+mn-cs","Size":36.0,"Bold":false,"Italic":false,"Underline":false,"Color":"255, 95, 0","SmallCaps":false,"AllCaps":false},"Alignment":0,"IndentBefore":0.0,"FirstLineIndent":0.0,"ParagraphSpacing":{"Before":0.0,"After":0.0,"LineSpacing":0.9,"MeasureInLines":true}},"List":{"Visible":false,"BulletType":4,"StartValue":1,"IndentLevel":1,"Character":8226,"CharacterFont":"","BulletStyle":0,"BulletSize":1.0,"BulletColor":"Black"}},{"Base64Png":"data:image/png;base64,iVBORw0KGgoAAAANSUhEUgAAAK8AAAAgCAYAAABkdCh4AAAAAXNSR0IArs4c6QAAAARnQU1BAACxjwv8YQUAAAAJcEhZcwAADsMAAA7DAcdvqGQAAAZjSURBVHhe7Vm7jiVFDL0/yDeQ8hF8AhI5ERkRCQkREhlkuwkBItpohUQACWlTx5yuqTp2ubp77vTcWfWRLM362PVwuVy+vbcLFy5c+GSw/PVhWb7/clk+vy3Lz98sy79/L6QeH1js8u6Hpw1A8Pcfv5y2CZu/EarvjrPmeTRk++7OHfJW4mK3rl24CjZ2wk3Ueam+O86a59GQ7Vs5nDmpx8Xyz5/9okfy41dX8r5xZPu2VqHlf/vpDSSvLvrbL5blw3trF5avP+u5oqfbi6CbqwjVd8dZ8zwasn13beOJreKz4BK0VGJST+0ENvTx9xffULeOIlTfHWfN82j45PY921CbzC+N2VruhbPmeTS8xX3XFyF69XVDZyarQtdC9d1x1jyPhkfad01KtKntuspvK2tZy0vftbTFjq5PcJ9IDvww6/yLUO0wsxvxthmsc21xsOFfvzt80YbzrAFrWykEc0PLVH3beGKd62FMvtbYYZYfSWbfzo/xoN/iv/asA9+qp5hjg4wfcbZvXfMkZtOvWyPR87bAqhGCvuHAVqg/1Q4zO+Vtk3ozVQ78iHRj4OARcNW3MvgRg4B2CZPJYK2WdJF9K0iOEg+6dLA4tcmjQl/V070i45U7GjPzi2xHgrVnl38YfFSSDdVN/ah2mNkpv1kGhzqC859dkFVknighphIUBffFJxM5xENroHCIioxX7nDM9KI2hdKquI47+2RntyFbDJ7oUeYXqD3VDjM75U1w8/D0YWMQrCWw4RCb4PxXwdiYA58Ko6pSkoxDGFzMUATgy1jZWJqY2I8mIKo3OMw526scZlh41n1AMJ7yFA5RkfHKVXluzGYFoeyPVI70+cKkgwRWW6odZnbKj+YMq82O9sH5Dvxd4pX1kPLtVjk4Ug4uroPnlH92sMRofZvDdBxEkgHA2C5pipCuyHjlTMr8pCuymAEZt0LXSvUcttHoxkMGt0DtqHaY2SkfBWeFSwi54Rk6v8S3VsRGSN1clUnaK4tpa5skeoTOtwjVN3dOJSakHKJEJ1WR8codiRnQcaN8kteE6u2wRQS3NawaYkO1w8xuxrc4/LwUdH6QpGqrLdX+P3f2SNDmWLyRjHJwkdDFtwxB1W3R2RahuiLjlTsSM8DllLw47qIPqvMUNpAeUlA1Or4I1Q4zu47fkIydfRGqp1C/tGqKLdV+jJ3CYQyuBZkI3Xbvf1bRWk555Y7EDHCvhVRw13Ykr8kUUWBJVcx4wN2owK7jT0xeqkOMbN2lRmLsEA4T961oSdAWrSI8XXfv3+ZO7FtO+YxTZLZRW2GxxNqi10wqcwcLXhNMxXN7pRX3GmfFPdsGqkOMbDURZk/2CK53Dj4NdXwRql+1baA6xMzW7TkSJPJoP2vSVuNBeXaVtwxKqqLjIcGTEv0IJFWhPNZIysFVpGf8YKM6xMjWfYLaMX+LbowiVFdkl37PE/vc4pFxipGtvb5tz4v802qLxA5+V3Ww73KtE0S/IepkkOCQnI0EMXwqipCucDYYN3g2XNWFJImuUF+qQ4xswz0Ngm6JM6gkbgy5+FGVIhWfYTRHdI5FSFdkfMYpRrZdsZy8ElOE5RubRFVDpYx6kCBJXAWAQIdDQ+WOxilC94rIxnxR5TAWJKjgWDOH2AT1pzpEZhuuBQeEPa97bw8suIwdv9ogKeEfxbUIXQ1RUtq61nghdgfjT7Uh4xQj204ftEe7MLqRQylBoWsHC1Jk30owD90rlN8sO2+x+lMdIrPdHT+IvFyW4JFdInQ1hK/QRuEQFRmfcYqR7egydoKLhgsN29m52gFEFUQl6aeA9BBwwJhH9HStUN6e5llyHHh+dAyqQ8xsbV9bfoBABjF01beVIK50q5gmMGIYtDl0r8j4jFOMbKMcmMqgYHawACCJ22RBUKGTPmwEq8DtQWIstCBl0caveoo5Nej44kv1/z+O2gPG3824e9HNU4TqEFtta/zada5VBOufrNVs2tgjjryY+uybg8ASAzHRODXPczd+ME7LKZ9xipHtoeSFlAvMIS5ceB3YBZ0kpRUBuWS4hKQvXHgddK9CEaodogpN6sKF14Em5KgdvZL3wsPBtQP4t37XRuLqVwn5QnPhwumwH5RtUq6CdmKViOcP1wsXXhXDBB7Jx+3/c3rhwovDvjnrZ71V0ErgMyG+b5cWgi7E7fYfXxMVihefioIAAAAASUVORK5CYII=","Name":"Sub heading","Paragraph":{"Font":{"Name":"Swedbank Headline Bold","NameFarEast":"+mn-ea","NameComplexScript":"+mn-cs","Size":24.0,"Bold":false,"Italic":false,"Underline":false,"Color":"255, 95, 0","SmallCaps":false,"AllCaps":false},"Alignment":0,"IndentBefore":0.0,"FirstLineIndent":0.0,"ParagraphSpacing":{"Before":8.0,"After":0.0,"LineSpacing":1.0,"MeasureInLines":true}},"List":{"Visible":false,"BulletType":4,"StartValue":1,"IndentLevel":1,"Character":8226,"CharacterFont":"","BulletStyle":0,"BulletSize":1.0,"BulletColor":"Black"}},{"Base64Png":"data:image/png;base64,iVBORw0KGgoAAAANSUhEUgAAAHkAAAAWCAYAAADkWDPGAAAAAXNSR0IArs4c6QAAAARnQU1BAACxjwv8YQUAAAAJcEhZcwAADsMAAA7DAcdvqGQAAANjSURBVGhD7Vi7bhtBDMz/+GvyHf4KF/kBV+lcpVKTykUaF2kMpDFSqVMVF4GLAEbqC2ZBGnMj8o4rHQQpvgEI2HwtOdxdrfRhxTvBx6urweXL7e1g6v8C6If7M/X7A5OwDnmMX7vd8OPhocn3+/uz5KZUI5OwDnkMjj1Xbko1lpwuFOuQDSWnC8U6ZEPJ6UKxDtlQcipg+/Q0fL27Gz5dX4/y4THw5+UlzPv7+bnZdRifb27aQ+Lv6+tkPXh0fNtsRrH4H3rYNW8LmgFiOSYT1GchI/TwgP45p/KvvTkf3TWyUhepAIVyQ5mgeQtp0AFkgvwWMgJIi/xdQNAph3woD9rHbrttdq2D1zvpkHUncp6oYW8AwG5XeyTIoyf65+Nj6DsnFj6JQ4Z8DA/ojW3wh543qOscJx0yFwJBUh6IFsPFolGP4dMKPa5rjsNQzbxHCgQ5/CqEHadFfSAtQQc4doqbY3gA4M92PQC8KRTsl9ZYcgrgQ3JBoWYaQRvUXWx/joCBcQzXpae4ui7ETGVwbMbNEjwA0YmHzM2k5FtyCpA9CiLwyUScqSeBWji/qVN9BL0RTF0Gx2bcLMWDbhaX7E3iYN/Fh8wFz8XxdVRdA34eAzF1V716DZq6DI7N1lqSB+0ZjzIzpWD/dP2SUwCO6xVL0a6w6BUciYWc3ZDZp1csxRuUB3w2mykF+6d8lJwCcFyv4ErThubElu2q95KGHL0hINCbSwj2XXzI/FDA3yC0Kvo5hh2LFzEacsk+T3VzmDrEKT6Tj+HBUjRkDy/0YC4h2HfxIeugph4I+hjhuKwJbdrUe6dTyXJEJ8NMZXAs6jH1CMfw4NBvDPoVSn9AYbBfVuMe4XyaIvHvo/o1BwLCuUn4oAEszq9JjfOcAIhQ4iBmTtf1HIhf6nuy3gSoC/ld4HMMDwDycCwOGnS6yX09RaXGPcLnhE9ORmYm3mD0axeK1auYpS1oQA2Rz5xYeBlT6/DL91AeAP1Z0zeH5mTeGaUaI+OU6GLVBjFAbyDa/SzYBLpD22IEJUcFdepmstAuaB0u0JtLwxI86CnXTe+3lWK2xsg4JdGOwrWA60iLwiIoHNe8ub4BMRiUF6i+ukNbkAC+iGG/3hwVoDcmMrp2gV4e5oYIf7Zj05ppD3GNm+EfgiyZG8OEiHoAAAAASUVORK5CYII=","Name":"Lead text","Paragraph":{"Font":{"Name":"Swedbank Headline Bold","NameFarEast":"+mn-ea","NameComplexScript":"+mn-cs","Size":22.0,"Bold":false,"Italic":false,"Underline":false,"Color":"81, 43, 43","SmallCaps":false,"AllCaps":false},"Alignment":0,"IndentBefore":0.0,"FirstLineIndent":0.0,"ParagraphSpacing":{"Before":8.0,"After":0.0,"LineSpacing":1.0,"MeasureInLines":true}},"List":{"Visible":false,"BulletType":4,"StartValue":1,"IndentLevel":1,"Character":8226,"CharacterFont":"","BulletStyle":0,"BulletSize":1.0,"BulletColor":"Black"}},{"Base64Png":"data:image/png;base64,iVBORw0KGgoAAAANSUhEUgAAAHcAAAAdCAYAAACQVvO2AAAAAXNSR0IArs4c6QAAAARnQU1BAACxjwv8YQUAAAAJcEhZcwAADsMAAA7DAcdvqGQAAAOnSURBVGhD7VnBkaswDE0/W00OFMKVKtIAJaQGrumCS/rwt8BgSciSYb0L2e83o5ldYmzpPUk2cKuouBTefePuX1/eGvccnQuXKyS8OiBKt7Zp3KMf3NudT2YVdwdyxI3mRR7OJfQMcd3QrRycHT+G6VcU15M1jO49MhsG9+wWQsO4EyumihuxT1yFrDeaqO3HKu4FUExc5wb3CBPdm/60/beKG1FQ3NE9mzDWEPc99O7hD2HLwmBt001tPwxRsb2/cW3nD3TeP0lcHKTWVeK9tkgkmUWT+QKeXn3nWjw2cSCla3TuJXBKePf28Ntktl8lK5c7IpqVGEiArXmS1v0fiZvZVWKsMpEYR8R1Y09F5eYTnK+LE/PuEzhcXsF/3+VXtrhGdXBh2653r/Vgxg5lqeTAgYCQkO1hjk01MH+tOAgpAokasF+piqfCwlPFErv33Yg95TsVUk+MQ215bjO2MLjiUq1RG7MJRPKFEUiIsJIvQ6AUrHtpYss8alsCiR3xa20jO8S1bdr3pIrDwSltURtnibMgBqxkuVoddkvmMMXN8N3qHHwNksiJTlNU3GnPMCpKEwaQEsfqIAtS9wOyhN/ZkgEWibm+awlGq7/zZ4vl7/ScO8T1k0gvMWDPIPvddjFzEQRpbG7lAzRxU0m2xz8J2v3HfJe7B912ZtOKZZ+4StZpbU8jnEMSoJi4iXksUi1ki5ttaZ6ir94MLoqJC0gRexVxAfx3MveBlgz4TXGjHmB6MhYVNzVZvH5sjpLi8uTB/4sEZCBbXO97fPzTLdxOgNdZ7FfaMiA1mVSNKaTEiX7o2WqKyyo1jj/WkgEWibm+a+BJ8jTiBBQVNxLFxDUeQxZoFWo6GmCJC8BjWiR0+Hk3LN9yfdfAuc3htJi4uDqlDMXOpapXG0OCSVQA9UHJaDJutqOkA0xxue+ppJvmmd9ehUsTiL8oCfG6Eqf7xBUfheZXh5gsOUBUld7Kvn4czNePHDEusOPtEkCrCMSbfYIPGWGI4rsQPxaQ8EZj0n4DmH5REmxTN3gmsGhK2wbg6t6aD9CLvP6tiEvI/kZLXiDxxJMcKpN3DG7wli8Mn2B1PFLVAneqX1niNvGT23STgZ/85BdFM8RdSdHH5QISl3wA8POKHcxXz9RlSJKD/3MnC8Mm0O0j3V2wRnzNXL/+FNaKMDpFxYcBbw/aNlLxgcht3RUfgulEPbBTdYGDVMUFsD0Yfu/xp+JCwOLOJ9P/Wdjb7R+FMQmxerAKewAAAABJRU5ErkJggg==","Name":"Body text","Paragraph":{"Font":{"Name":"Roboto","NameFarEast":"Roboto","NameComplexScript":"+mn-cs","Size":22.0,"Bold":false,"Italic":false,"Underline":false,"Color":"81, 43, 43","SmallCaps":false,"AllCaps":false},"Alignment":0,"IndentBefore":0.0,"FirstLineIndent":0.0,"ParagraphSpacing":{"Before":8.0,"After":0.0,"LineSpacing":1.0,"MeasureInLines":true}},"List":{"Visible":false,"BulletType":4,"StartValue":1,"IndentLevel":1,"Character":8226,"CharacterFont":"","BulletStyle":0,"BulletSize":1.0,"BulletColor":"255, 95, 0"}},{"Base64Png":"data:image/png;base64,iVBORw0KGgoAAAANSUhEUgAAARUAAAAbCAYAAABSkxsmAAAAAXNSR0IArs4c6QAAAARnQU1BAACxjwv8YQUAAAAJcEhZcwAADsMAAA7DAcdvqGQAAAXJSURBVHhe7Zw9juM8DIbnPnODvcUUqbfbPq2B3GHKr8kRphpgW7dp9gRbpAn2GvxEW7IpWaToH0V2oAcgdhD/iKSoV5Lj7FulUqlUNgDgDl+nd/h4N3a6wgMA7CHx2B5I+XdrTt2xc9PuzncNj7aBs4uvswZuNo6jx4bsvb7msJtYbo11QrDz6QSf13yF86qiAtDCp83hx/sJvu778j1FvDZ6UTl6bI4qKhnQiMpoRlza7R0tJSpgZmEX29K4Uv7lms238F2C3v/j1MBXe4fH3ZqNo/RK5Rn9dyR2KCpmtqGF46xt4csWz3DexrPSK4tKLnKLylgX43Znb1RR8dmnqAhigXtr14Hn631TZ6uozCenqBxloFVR8dlNLFpR8fbQWw9uIRk5E1VFJc5RBloVFZ/dxKIXFd5hKjjSKoZbUsv31iUKz7tdGzhbP/rzpw+Y/QeMMZu3vdvC90d7hU/jK/WjeziO29GMvofA/ernb2Lj/eW4iZ+NGe3YN2QLHauRUjnQ9lEXg6K+EK3Ypc6b0yaijaUD/v0G+NOb/Wgztlip0GMlRCU5GE5je88sypTveJwOtqhl9D0kj6hcx/Os0RopnYNUHyFz6gvx429ZX7jxgMxtE0nGAvAX4PsXwE/zZ2gX8/m/afBLUIsKUdVQOGgSny0qfvLtzGYfMnvFGrs28/I55fvjSmZvM/huwwPy4OF4Jt85ksVpkOOODHycYZumM/xCwJ5aPAe56ksSDEQSnqVtirF0gnIx/8QEZbAfZuUydXYuKVFBR2+k46OJLyQq3jHGf1q0YeGVFBXNbCb1zZFEhauJPeRA3X8z62v0jRlXjO+r2pT6Db6NYESFJLRfkwbnMnZa2rj3EYqJCumYJYX71KIMj5HZiPW9NeeYGb5/tuD7t4XvHGJxWuS4Sc6Z65E95CBXfaXGxCgMwVhY1SYTC8DviHgI9v032rCWOaLS7eNiqptIoGNrUZFmMQrbbklRUQ48jsOICrMCQfaQg5z1NXw+yQ9pM8jPmjbZWOAP8xyFs8sn27AGLwiyd6PmP4GeBltCVKRrQjSzwrNFBaHLWMyre6ZgD4u8gqggpXPAxaHJgSNdX/6YoSs06vfaNtnr9VsfZ+u2QFpllGaV4qKitqBzC4sK8gi/MnTWLfeNqEeuQV5FVJCSOeDi8D5XW1BfzLhgRWhlm2yf7FVUkDEZuuSFVFGJt4Hn3a7T9zT665pov7ySqCClcsDF4X2utukYGmre3tu7b5CbtW1ysZTd/kQ6jsJ1YnFRMZ+PX0XK1t3UshdRCYHw69QgX8iriUrIs3LAxRF+vqS+kHGr048vbuuDrG2T7RPd18nEVn6tfFRRQbj7admrqDiof2FeX11UHLlzkLO+EHp/9H9Y7TN5XdOm2G/q1cpl3SoFmSMq4/aHFxWpiLYWlbVFlbsopWOa4pHE+hVEZQ85yFlfDiokXzbmMBbHmjaT/ZYUlg0EBdGKCl22iaLAFIj6+kmBKosX78n43//Cun/oZz/qKCkqtO0lBbZVwceQ/Hao+0UQlT3kIGd9OfzaR+PH2po2Nf3W/+bnv+DB7QXfpF33bgrFExV80j7Zs/V7W5qUWAfSVUz/Pot//XCss21EBaGF1SUZf2zFtR0UuNeBg894faQzGJb67h0z5r+iHn6N7+cLSfku7d1TpHKOyLEpRSVzDjSkYl1TX44wTi6njqVtavrtKYyiojN2RgkTNzGTnCEZfoFIydAkqvt/VId24oZvA9vTPWLxzxmEa3zvBoWYMzR+VpN8P4KoIDlzoCF3fTnopMuNIcqSNjWxPAWVqJzwpaT0DIBBdbOLVyT2WhPgmNhtRQUBo+LxtvvZz542ofPZW0nhklLfGVv4HvvZv/QTd4fk+1FExZEjBxq0fbS0vhxjf8iPGShz29TGUqksYlxC64u4UqlUWIYVaJ2xKpXKWuoqpVKpbEr3Nio+B1M8EKy8Mm9v/wMDntGIW0xmdAAAAABJRU5ErkJggg==","Name":"Bullet list, first level","Paragraph":{"Font":{"Name":"Roboto","NameFarEast":"Roboto","NameComplexScript":"+mn-cs","Size":22.0,"Bold":false,"Italic":false,"Underline":false,"Color":"81, 43, 43","SmallCaps":false,"AllCaps":false},"Alignment":0,"IndentBefore":21.2598419,"FirstLineIndent":-21.2598419,"ParagraphSpacing":{"Before":8.0,"After":0.0,"LineSpacing":1.0,"MeasureInLines":true}},"List":{"Visible":true,"BulletType":1,"StartValue":1,"IndentLevel":1,"Character":9679,"CharacterFont":"Arial","BulletStyle":0,"BulletSize":1.0,"BulletColor":"255, 95, 0"}},{"Base64Png":"data:image/png;base64,iVBORw0KGgoAAAANSUhEUgAAAQwAAAAWCAYAAAA1tqLaAAAAAXNSR0IArs4c6QAAAARnQU1BAACxjwv8YQUAAAAJcEhZcwAADsMAAA7DAcdvqGQAAAWCSURBVHhe7ZsxlqMwDIbnPnOaLVJvt31aTpEL5AjTbkubW6TJPbyWwUYWkoUcA7Nv/L3ntxPA1m9JFuBkPzqdTqfjcc+7u35+ul+fg3s45+bD4vGjKNl/jaN7jM/DNXXqseTT2bln5VS9zo3uFowL7XJxt/voXs82wqTJnh00Udc4JF/cxuN1deqw5NPZuWflVL1ZwfDF4YpbPB7axX01KBriwmzshNf9Mukexk1jibqify7v67Jq6tRjyadTF2AFp+pdCgZfENxzdF8XOO/b5e5ebwoUF2ZjJ7QqGC3pBeM4LPE8dQFWcKperWAALQVKY7V2Qi8YPxtLPI+IfUtO1WsrGPk12gJ4DNDn013vy4ahNFnNCc493eM++FelaczQYH8FbUbCNelpaNXKzq3RBfZeI9HkfRT2fOZr39FUYottyhYfUpr2EbThPAr+GubPoflXY39cnBM8AXPXK/mEaZF7gD6OvNYsftbs7MqmgpE2/nKBRxWMkETIkdMeC/o8249Ovw2+xfPgdPg8lF+nrLqoJrCTB3u6/h1NElttz5cHtvoQE3KjZIfto2lbz3nJI+8T3C/+Hc4J+vA1tE9oa19QWuQegK/lNsjTOiI+sMampHd3tIIR7mKzcOqEowpGHAfsZI5OfezaKFZdaXw4jvwGd7yUxMS2VZNEjW2rD7MkpgmO7ODYAsmO77PSFseT/ML0g/ybzuX5mesr+IHJJ0rL3CvFmFsPgDk2Bb27s6rSbPPBYh6NtAXAOUiarPV4RNKgaaNY7UvBB6Q7iVWThNV2jQ+1PjV2lvP54k/2ib8AXBj4POJvdJoWjHStNobFb9KNuaWNQ8gKRngUwm0+Hs55cSQw2gJoUTCiDW5xAKnfm4uzVheX5BJWTRJW2zU+1LRC3nyR16ot8+NyQutX7CP4QIobhxZji9+WAkcKg3ITMdkwzK052isJOOCRNpWERWMItDRZ6XgcQ282bRSrLvpkdvUF9Uv5gZtVk4TVdo0PudhpbOnD+aAmjzRblkW1V+5hbdwxoMYGq9e5v8799v+Y2p9MzBa0ggHgx8Kt72sAF1TLwszeU72+/OmHNj5oexUMIBbT6TxqXg+3u23VVGKr7VofaguSIuUIhbvT1uSRpq8UN0rr3EvjzXNcxiJPHZU22Ll9p4IBcAHau2AA1sSNHFEwMO7pF/B4dzcf3GCX0dyyYGA02zU+3KsP54PvWDCAGh8AtECk8cnrCFBjwzK35vwvBcO6yPYuGLBIX77NHzOSbeF91ToXitV2jQ+3aJ102ObXKo+0PpZF1Tr3gKgPNMe/uSevGhuWuTVn2yvJ8s6cfb0jbOQA+HHrnYKRbBT0cYtnS/JiLLo0n0ljWTVx1Niu8aE0h0g6j2K/2BH6CNo1v3AFY9FniwGHdG1t7gFprv5VYvo6WfDJDrHZFT0B0f8loQ5NwqGQoGD6YrFslL5ZMLL3PH8OaQx2YiUnyZaSkClmHFZd6c7gx19pQufYJwxG0wteKeBbB+QrCavtGh9mfYje2t9hpPGkWBkKBlCyFfXRuHG0zr1I0gdNuKYqNoLeQ1gKhm/ZJotv8XhosJm2Fpc5xV+TfRU7t3cKBhA04nFnfYuNdbFbxpvatVDBAauu1posTx9Vthv0CTmBPzNaeTv48zq+tQUj2IrjhrG9rdXfa3uU1rkXWZ4elI1go42S3t1ZOX3VvPghr+CYqQouvwaFFr7m89dzgbYuzEiygx0btOW/jsPgX6mWAgvU6JI1yf6SNMVFQxeFRI3tGh+yfSC+zLdAEb6Pv+Fs+L8k86EMqWAAYIv/vycxr/VFtUfuAcva2qDBYEPT2/kBxEVRuhN1Op3OcscgewWdTqezImx4+kf20itTp8Pz8fEPobgkR2YDoUYAAAAASUVORK5CYII=","Name":"Bullet list, second level","Paragraph":{"Font":{"Name":"Roboto","NameFarEast":"Roboto","NameComplexScript":"+mn-cs","Size":18.0,"Bold":false,"Italic":false,"Underline":false,"Color":"81, 43, 43","SmallCaps":false,"AllCaps":false},"Alignment":0,"IndentBefore":41.3858261,"FirstLineIndent":-18.4251976,"ParagraphSpacing":{"Before":8.0,"After":0.0,"LineSpacing":1.0,"MeasureInLines":true}},"List":{"Visible":true,"BulletType":1,"StartValue":1,"IndentLevel":1,"Character":8211,"CharacterFont":"Arial","BulletStyle":0,"BulletSize":1.0,"BulletColor":"255, 95, 0"}},{"Base64Png":"data:image/png;base64,iVBORw0KGgoAAAANSUhEUgAAAM0AAAAUCAYAAAAujbmOAAAAAXNSR0IArs4c6QAAAARnQU1BAACxjwv8YQUAAAAJcEhZcwAADsMAAA7DAcdvqGQAAASlSURBVHhe7Vo7cuMwDM19coO9RQrX223vVjO5g8s0PkIqz6RV6yYnSOHGk2tgCUogIQiESFGy89Gb4WRNSeDD55EUtQ8bNmz4BYC2gafHR9gfL9B3qX1r4x5j1uKenK/HXdbYXzGuq3Ii42rb7eBwbOEKUDWw5sA9Aq2NSYXx1LQ341GC0jgt6c8mmgTIuBdI07DWB99fO1YJR3Og1imAC7zukF8D50xu2pjXO/CQsGyUxqnWH45NNAmQcW1misl8hEP7M0VTi68mmiWxiSYBMp5aznMDZ0FzoNapTTTr40eLBt7fwLfPj2LSZDwlmnODyRyuNFYwtfs1ByyncIux90XUtf2ugddLZy8WmGy7cE8K2pgpX/w4fIuK9zRHOC/Ag5Bjg3MexcXxkdtmzZ+YE+YT23Ijj7N7bt/bxfHxXRb7pC0Nc3OJIL7aTiZld8omIskJTv8A/jqfeXt2fZ9jAimQcU00tD9+cqT4DLimaOj5+I4Vk0k2r61LaHuEgw+cKzD/e/rAQhtT8wWghUM/JibE83B8PC9W0HN5cEzZCPkRfEKBi/dNSzShOV/2/XND4bp++T7rmsyRRE0u4XLs+pT6656P8Ubk2ESonOBdEUxo/0YEUpBJGbXM2YxATs0RTSr4cOmLWMyOqS1NCpp9zZeUf9TPEzyHh4RlI+ZnWDzxmWG/KRoXP1opCcG+EB8Xk4yDRE0uU76HiYvnPNOm75P3Any4FcX9UQXTt1PeVi0GTZ6exdlsL2aBNUQzVXxy1pm6X4PGwxIN9wGBY+IqcHbbnL5rFg8Jy4bGmaDxtEQj/UFY16w8c9TmUvOjuj5k3ODzoAuFt+fDyLAGMj71TsMDZwVTS4KW+HFQ4pbIamR3TrFqPDRfwpYBG+6X8VtVnwyJ7yyaKe5Wnjnqc9nfz2pwJIJSmzJutxRNKCC29K0imlCo4xWPt1usNAhc8uVBgOcm7/vWoqFCXFg0hblEdBw7HpqIiutDxg3gTRcKby9vYUALZDwpGnJgbdEo41hYWzQccMHTpXhiM/DjW4vG5j5bNIW5RJAN5Mj/3V8utqnGDU5/dLH45q5lnqCR8buvNCGBwxfbFNYSDdo9+1lrnBwtFnN4SFg21OT3qBUNorumx3y+aMpyiQiicHXYcRrGotRmMm7wognH9b3nEUWQcU00kehw8PCMUH04xXCtVDQISpI2m+DxN/9/cLMSY4zJ+5IzsymaMQ+8dnWrVP8zCdOGwpmwhGiSuaQiFrY01OaSQDx9U+qxqD6MuLn3G7dVw+81L66d8rZkHDFocq8Yz7/HAY1iCs+5v/533+aIZmDXFVD3zYB9yBKBDEH23y7Gx6kSVnIHPML+2fXTd5rE9wBEikfXnyfqlA0r+UuIBhHGDjEf5lIbm2OJXCLIDjZV4AU2rbhVgxMdNRSEMiMgvAOD4OK9bmZVEqkGNeEU2pVffD0PdsxL8LMhC+JUcWpjakWGoIOAMHHgPa6gNWGmeJSIJmXDSv5SosGY+3c2P3Y3vs+7MTbHErlEBFEoKwkh16YVtw1fFKEAKt51Nmz4VaAt3jbTbdiQiW4Lkd5mbLgVHh7+AyvKRsJsaCo/AAAAAElFTkSuQmCC","Name":"Bullet list, third level","Paragraph":{"Font":{"Name":"Roboto","NameFarEast":"Roboto","NameComplexScript":"+mn-cs","Size":16.0,"Bold":false,"Italic":false,"Underline":false,"Color":"81, 43, 43","SmallCaps":false,"AllCaps":false},"Alignment":0,"IndentBefore":55.5590553,"FirstLineIndent":-14.1732283,"ParagraphSpacing":{"Before":8.0,"After":0.0,"LineSpacing":1.0,"MeasureInLines":true}},"List":{"Visible":true,"BulletType":1,"StartValue":1,"IndentLevel":1,"Character":9679,"CharacterFont":"Arial","BulletStyle":0,"BulletSize":1.0,"BulletColor":"255, 95, 0"}},{"Base64Png":"data:image/png;base64,iVBORw0KGgoAAAANSUhEUgAAAMUAAAASCAYAAADrAxpnAAAAAXNSR0IArs4c6QAAAARnQU1BAACxjwv8YQUAAAAJcEhZcwAADsMAAA7DAcdvqGQAAAP7SURBVGhD7Vm7rdwwELx+rgN34UCxa7hUgHtQAyrhIgNOlSpxBQ4uEdzGmktqxY+GFCVR72w8DkDgHR85u9zdoUjpVlFRcTGmvqGv9ztoDT3agSYimofuguFt6Pmy81FfaSAbNLS6rxuus4swKbsPiWfTH45lSRAN1J3w5yNymINL/TDkd3r0A43D3Pqeusb0lwzeRwQU2tWiuH+oKIwQOX5KjCq2T9WqKMrhUj8MOS6YsVXBO1hMsDhPLIRevd51H/0rObd0sHLthrg0aZlAvldRZMCQ48KX3a6KYr8ozIby3uKpojgIQ44LP/xfKqCmCFoa537kdGwhRC96tsaWaXz+N4lcbAYtJlRkIyZuLpqucXiblp4H7QqkEFPzeL2jWq8dt76/5cZax47XoMaNvXOHAY198HiD9efcIY/kkBHbJLBw01yMmB9FYMjXyZ6GOblOUq4QhS0+c/YelV25z3CgOECTvueYhD9alXz1e4oEA9oAorBnfhbCzD8XiCmefXYFPI/H6UJd1mTn6YTP/xNOLgATaxu/3aLgseyn4uhaZ02B7zbe3MQHK44jT+KtHOoxoPgZIV8OFwP5UQyGXIIUtCAhuYni38hp1BfbQUK+WFBDIBtIFCE/A60v126I2Lok3uEmJD4uRZQZa1dkoS28C9ui82IkPMCei6M5RPyoL4eLf6/8oB9fiL4pzlT73nmkMUiSvLdP3u7lLqKsKBY+9djWAxyEhXyNKLjP56OXekK4cwuKIlV4triliHaKAnGmRJGRQ4QzOVzNDfw7w3WjPz+Jfm213ytiBEPuF4zg6O7Fv1FxxoLCNmLtKlHYIjRNHzvUxpBTWDnAoognneEXe16s3y6KEzk8w4XyXAyGPCKKIIlXiULOvKgtZ3GQYARkF4lCQC9lR5297YWTL3XO3Ey7IT6bKLJy6Pm69nsPF8pzMRjyN4lio0hclBaFPiYFa2CBhOsrK4pEAcv//jdR7Mghw843vnk52cGF8lwMhhyLQv4nQQ0TpwcpLIvZKQoGKh4Gc47Oeb+kKGKFgdZXUhSMWLzXR9W8WL9bFIzcHDLE/kO/UVrbyuVCfhSDJMm/aPfULe+JfcdlvLzKfM6v/cKxyGnUJ4njfnlsLpzoFaUa1/X98j0hBLSBnhRzn15H4tUfspsqREE8uVLs6VeyjJxYJ0UBfS8vitwcCowd1cATIZcL+VEMS+BXjZ1aXzwZo5pjk8MB549R/Hfa6dhC+NgSfqxBtienKGI7N0waEAWDv8X4H+/4PrHmDe2eEQWD5299vBNsxXrLl7Xv5UXByM0hI5YPQQ5XzI+KN2EpLJWouaui4nNja6erqPh00EeS+pT4R3C7/QWdclcI63MgHAAAAABJRU5ErkJggg==","Name":"Bullet list, fourth level","Paragraph":{"Font":{"Name":"Roboto","NameFarEast":"Roboto","NameComplexScript":"+mn-cs","Size":14.0,"Bold":false,"Italic":false,"Underline":false,"Color":"81, 43, 43","SmallCaps":false,"AllCaps":false},"Alignment":0,"IndentBefore":69.7322845,"FirstLineIndent":-14.1732283,"ParagraphSpacing":{"Before":8.0,"After":0.0,"LineSpacing":1.0,"MeasureInLines":true}},"List":{"Visible":true,"BulletType":1,"StartValue":1,"IndentLevel":1,"Character":8211,"CharacterFont":"Roboto","BulletStyle":0,"BulletSize":1.0,"BulletColor":"255, 95, 0"}},{"Base64Png":"data:image/png;base64,iVBORw0KGgoAAAANSUhEUgAAALQAAAASCAYAAADyiPTBAAAAAXNSR0IArs4c6QAAAARnQU1BAACxjwv8YQUAAAAJcEhZcwAADsMAAA7DAcdvqGQAAAPfSURBVGhD7VkxcuMwDPR//IP7xRWqr7terWbyB5Vp9ARXN5PWrZu8IIUbj7+BIwhSEsGFTMmyc8lpZzieSOACBFcQxOw2bNgwgUtX0c/9HoyK6uZIFyIKprMgvBUdzsN8dG1tIB90bPy19vg4vwgX57eO+aw6n8upWJB9uJXAkVB7wwbhGfkvwUPjEPI91d2RTscwuo7aSq7PTVoECvoZCYV+vYj2TxW0CJfz58Trcntwg/NoxWLZh9sJNkFPQMjxZp8alzTj3i1AYd2xEDp3vnrV3Xly7trJKvWrMTcOyx753wQ9ASHHoo1VYxP0fEFLMSiPw7L/7wRN1zeidx4fi4IUcixafW8qkbIhDZ3CdRS0tRCiMx0a8SWDe0zZwN6nGtZDhnxYDyaLpa1GvFVDh4V+I6IArXk6Ftve9p/sg1rD1HfPkvwz5j1s01wMGAfRB9GL+/k1Hj9mC1vI8426HEOiR+J9hKAH4UjveHJ+Y//OieIEXXxfLx9MddP5Pv+ikhsBfQBBDz0rizjwB2GIaOb5jeB5bHfwXHFNw7xM0Ka97T992Pjjne8NwrbeJkvy722AcBmar4SLgeLY0aubn4g5Difq68jwBoQ8JkcNJdxHCNp6+jWflVQN5AMJWvMz0PpK/WpY60KxMEx7WAUH4STr5OrIogb7w1iaf8SLrpVw8d9ZHHRtgZBH4/UtIZyCkHPCpDLEwa8NTmS6iHUF3fO516Q3GCGrZA8RNF9L+Ygr43juvyzogn0Y4578Z3NVXPdw7ej9NxZyHC9tRmpByPMEM2IgWdBrCTokhX1YI8a1tqD7ChP81K714NekXte3FvQd+b+HK9ujm4JeUKF1ghn6qXuUoGN/iEbfe4KNRUB+LREx6Oz8uD51+LBy/d/IrtSvxlcSdFH+kxYDtCAzuLI9wh+Eo/EeDAsg5J8kaMU/hbUF7VsLtQYWt17ftxb0jPwzhvkSU5LPGVxoj+w+ekZ1Zgg5FnS8F5M5vKbThPWLmSlohrmRjvM06m/XFLQlCLS+7yxoRmn+GdFv7U8uch+lXCgOD7q6Sv3HtR8vP5yQ3e+Cs2gh54QNrwZ/3NKfJaaBR/t43HUIx0raFgWNrsUN4+vxddVzOh+9sOImOru26/rzYg3oA1XocM2vY+KICflFX/gaqwka+l9P0KX5jxB+N0AlLuVCcawGIQ9BJoODyj+SGCc3RwIXu9YJQCcSBW0thF/1+jAe+b6MHh6rYsJNM0TEZ+3pP1a4f855td9nCpqR+19P0IzS/DOs+CNKuKw4NnwSekGBKrVhw5fDrSq1YcOXgm8Btuq8Ana7v7EGs91+CjoeAAAAAElFTkSuQmCC","Name":"Bullet list, fifth level","Paragraph":{"Font":{"Name":"Roboto","NameFarEast":"Roboto","NameComplexScript":"+mn-cs","Size":14.0,"Bold":false,"Italic":false,"Underline":false,"Color":"81, 43, 43","SmallCaps":false,"AllCaps":false},"Alignment":0,"IndentBefore":83.90551,"FirstLineIndent":-14.1732283,"ParagraphSpacing":{"Before":8.0,"After":0.0,"LineSpacing":1.0,"MeasureInLines":true}},"List":{"Visible":true,"BulletType":1,"StartValue":1,"IndentLevel":1,"Character":9679,"CharacterFont":"Arial","BulletStyle":0,"BulletSize":1.0,"BulletColor":"255, 95, 0"}},{"Base64Png":"data:image/png;base64,iVBORw0KGgoAAAANSUhEUgAAALsAAAASCAYAAAADg69MAAAAAXNSR0IArs4c6QAAAARnQU1BAACxjwv8YQUAAAAJcEhZcwAADsMAAA7DAcdvqGQAAAO3SURBVGhD7VnLkaswEHQ+juYdCIQrUTgBQnAMXJ0FF/LQ0zAMQqMWCJC8W1vqKh1WC92jmdYPPyoqKm5g6hvz7/kErTFtN5jJGLM8egrM25j36N5HfbmBNMzQzX2voZzuFeSMy5jBvKhuTX+6Zt+oSwqKx8ECT9P2g/kMS+t782q4/0ryCCjwbyQV6s6mev46s+eMq5o9ASyAE/7peJW/UgxouhuDMWNvWhtL24+77+ZOWKruN4FiqmZPAAtgQ/M2W81ezf4dFI+DBbCh9f/2Esq7QGc+Sz8KPDYYY0bz7liLG51juZCrpmqxCYg0YpOWTPNqNrxNZ94XdTX2uAU6LjGxzq8819LxUvg2jd73aqO0j+5eV+pC4JqD9+Bk3OcixOLIBhYIizgNYeJLmN2Zyg5+vje4+wIli5I0zfeIjhPY9fO9YookBGoAs0sfm3DhXwzC5jmnu8UR9/IYjEvXw895PCZ/ctLHBfqfM/3eznSlLvMzwNQEzZfCRQji8AcVa850R5DkwqZXGC/xPv9Vs8dWB80XS6wG0kCm0vwENL5U3S2SudEkpBVwNii/j/KDV05nKO9Z4QM1E1ytC+JGfSlc9HcQRymze19jbKMthxLqDySv2Vc+u83OD2ygjVDG7NTn85nRrp7bdy+bPYEbxEVYNe3qh7R3zZ5QG407dQneVbHd4coOFggTTpBggsBzmX1JDGnEmsSVajqki0zlVlBurT1y0Barx5Wqu0Uyd8TsBKkLynVxs9+oyx0uVLuskKSihOtZWcrscvZETVZCVGAEpLtnKjNaHXsGdhc6ujht3k3URTjk3olLdgdkUhRTCbMn1cU7toBjzQkuVLusYIEfMrvi30Nus89HCjUGMqce3xWzJ3NHzC79bccXUZ2f4mY/UReCe5/j8vJ8ggvVLitYAJtd/idJdduzn7h1QCfNTuBChAMkzs/mzJvT7DFjoPGdNfspbjQJVS5RfUqbnZBaF4Jo0x0D6aRyoTiyQpLpX1B781q/ifrBy/PyWe29fAbTz6LAUZ8Ujvplq1s5rYbwORPQ56s++GYtgBrIVEvfPI6dz2FI19+6HacgmRvExcbYTkwwSWBMec2eWheBxI1W8FQuFEdWsMASqNcosPBSRfjYdzh4fu5lC6gTigKPDYa2eP2DA9KeNhMrttLCwgFTEei3BP+HHzpTh7xa98jshBRuHdc6SZRhUH8YU16zE1LrQojlWJDCFYuj4gexGkuZsqLiz+FoFauo+DOYjxB1VS+Ix+M/BUFdI7hf9hcAAAAASUVORK5CYII=","Name":"Bullet list, sixth level","Paragraph":{"Font":{"Name":"Roboto","NameFarEast":"Roboto","NameComplexScript":"+mn-cs","Size":14.0,"Bold":false,"Italic":false,"Underline":false,"Color":"81, 43, 43","SmallCaps":false,"AllCaps":false},"Alignment":0,"IndentBefore":98.07874,"FirstLineIndent":-14.1732283,"ParagraphSpacing":{"Before":8.0,"After":0.0,"LineSpacing":1.0,"MeasureInLines":true}},"List":{"Visible":true,"BulletType":1,"StartValue":1,"IndentLevel":1,"Character":8722,"CharacterFont":"Arial","BulletStyle":0,"BulletSize":1.0,"BulletColor":"81, 43, 43"}},{"Base64Png":"data:image/png;base64,iVBORw0KGgoAAAANSUhEUgAAANQAAAASCAYAAAAjb/CxAAAAAXNSR0IArs4c6QAAAARnQU1BAACxjwv8YQUAAAAJcEhZcwAADsMAAA7DAcdvqGQAAAQMSURBVGhD7VnbcYMwEEw/riYfFOJfqnADlOAa+HUX/nEfilaHhDhWcGBsZxLtjGZiIu09dCsk8VVRUfGL8ega9306kda4c9u7h3Nu6LoJwtu4630cz54dDWbD9W14dulfZ/c/wLneXVAbTberLt4x/xa81A8hP7lz17tbP7Suc5dGnh+ZvHcklNoNgjpVQT2JKigDhJwX262Vt9WeQqSF/UQg7t65s/fl3N0Xxx6dLKvdvwYWdxWUAULORSNbpSqoKijBvxCUu8et2v2JILlo9P+WEipvs9bdhufM6VIgzt3dtRVb0nDekYlMNlUriZzZKC0MKJpLk/E2rbvutKuxxJ1jKXZA8kpyRgt+mSvFhLNxP/UvnpeX4p7Mv4rPct7eM//AkTkAqB9hYD5hhcFrEPJ5oSDhcDYXzyShKnl7BTVOoPc9nOPG8xsShTgf4VzXSvLaLiwgD5XcCGqDCCo+k0If+Id8SvFss5tjjXvothp76EOKBtBxmrhSn9gPMY3CWMu3Hi//m46HnRL2zH/oc2AOAOZHOt/Mm+q4AiFnPL4p4SSHDxRUafXRfKWkajAbTFCaH2DxWe3msHJbYk8LZ+4TeWbjGgtukh9j3OXxc38Y9s7/kTnA75kfMdiZAGLzr9/Q0QAhR+Kg6LHhtRlsTIKYJz5i1WkP/SzxEX+1CF4jKDyb8rm7X6HzsbsFtcy9JfZZ3pRPVq7S/KXizOZvUVCG+Wd4Zv6PygF+z2okdig2EnAJQj4ayxHtzJw+SlBDUia+qxb9shY2s6sTCoxFJO3st2fYJui4rHZzWLifiX1vHn+doD6QAzZ2XVBEpSUI+bTYIrTqXyWouE9nLa3oZIIZmF0mqIhwqePPC+MB2++/s35WuwxL3Jtin2xv8r+3cf1WQb0zB+g7qxG9AurGCqcEIf+QoBT/EtgEMzC79A2F7ZeKAQLQ8Vnt5rBwb4kdGOMSfyaxGLlK8/cxQX0gBwCrkRRwLiQ0XF8OXUwQci6o+L+YVJZ4IAWzUVCATIQKzgOc+BQw/DQXNrOhBVUqDGthLWELtzV2IPKew63VvHAtXM/GXRoP7BEU8O4cAMyPAKyEciWLK0z+nWMNQo7EwWhsnbuku/yp47F/vBK+Dterui9zmj0bF4Z4DZtxehtpguNk+n647i3FSm2wN1TcNiOOhStWZjcVICkswMxtjD1CCsY3smhauFIsFkHRuPl4YK+g3p0D9GN+HAYhH5ycNDjl950kQTc/RhyXfhdfJDqhzOlSINgO6Y9xzPYjJse30huDThoRFKA/bn77omff8bTdNUEBVm5r7EApjog1ri2CAuZxHy8o4J05AEp+VHwIqbD8RA2PKioq9mJtlayoqNiAsBWqb6c/gK+vH3bFvFHKne5kAAAAAElFTkSuQmCC","Name":"Bullet list, seventh level","Paragraph":{"Font":{"Name":"Roboto","NameFarEast":"Roboto","NameComplexScript":"+mn-cs","Size":14.0,"Bold":false,"Italic":false,"Underline":false,"Color":"81, 43, 43","SmallCaps":false,"AllCaps":false},"Alignment":0,"IndentBefore":112.251968,"FirstLineIndent":-14.1732283,"ParagraphSpacing":{"Before":8.0,"After":0.0,"LineSpacing":1.0,"MeasureInLines":true}},"List":{"Visible":true,"BulletType":1,"StartValue":1,"IndentLevel":1,"Character":9679,"CharacterFont":"Arial","BulletStyle":0,"BulletSize":1.0,"BulletColor":"81, 43, 43"}},{"Base64Png":"data:image/png;base64,iVBORw0KGgoAAAANSUhEUgAAANsAAAAXCAYAAACCqTqPAAAAAXNSR0IArs4c6QAAAARnQU1BAACxjwv8YQUAAAAJcEhZcwAADsMAAA7DAcdvqGQAAAS+SURBVHhe7ZsxbuswDIbffXKDd4sMmd/WPauB3CFjFx8h0wO6es3SE3TIEvQaLGlLFimJsuw0tqv6BwgEtiRKFD9Zduw/mzZt2vQrBbcajrsd7NGO9Q3M4V+ne31oY7DfHeByg9FxALjB5dDFcX+o4Q6yjWvVtX+smuDc7AL4AHh/ATjhz/dlOgNNZQKOhkExh5P66cm6wdbpmbABNHA2MZ7a/rcIPt8AXv8C/MM+WVsDbGjnZrgfG2xl6Kde2XjORvNVXMU4ZCuDbb+r4DoQmA22MvRs2J6lYdhePbhOeGXjV7fVwIY2sJ3cYCtDhcNGgOEW8rMr0F7p1gibNgijDbYyVC5snx/BwbXBdq5dEqaCl0pWfmOcSuRrZfx421beNgUSbjegvX/fL7LDAc+5tmnS7ziOo5341rCOcq/g95/qD/nQ1Nat0bdft1Z88wcH2D/r29aNxWysD657U8MZy/b1bFxw2M99QJIHYtg/jIGJvWyPP3CJ2cAYVgcbzr2bAB2W2WDj8EfMgtJPatTCe1DR/wonW5SXRolpqgXi7UTtEPEtYKuDvgfxnODDis9laJjQPeTzw0bn+SITNTa2ImGTyRsfwFywtWZXcLzCkckVHldp01eC5mrKdKulLYPmARMmMK32rr5/FYmNQ7ZhVmJbnydRkISRpKExVlVrF37FnuiDJG8PUjHszs8Nm1jU+dzdGriMGFvqdkdojbD5x6KDnQ22+KotE0mBQSwaKR/KgiKg8OpnLEg8mXhC+LBpMfo+H9j32PgyYjCkqbCJ/ik7B5cfYd+Kgo3kBhsBaibYtECmQOByySgnLNV/Li02/LgOSzyhxPHIQmb1kI+MuiQtPrmaDFtG/AF3J3Tv1t2/yb5p85LUmmGTCZ2frLxeaqIfg02fSC51bLmwKcmcWnW5YmPU2vT1iI/cuovBxmOQmD9NxcFG4ufEyvlrYAv95PomuWQeB9sjPqbVnRc2kvNN5u6ZzemkioSN5KBw5zfYzLFsc8k8GrZs63zkxoa0JGyke/CgxpY3D4OUvhcLm0gOu3pusPXt5tkGmzpHWO5ah/+1dfWqaL+KhY3Ey1CCbLC5Y+6RddpMkyI+udvIMT5yY0NaA2y+wH/07+UHqWzYeOCoHPuzuWjYWDkOhtb3HOXARnrER27dNcJmxecuyLGSYSOJxGOWgm1KMq0KNq3+lMk2yo3PQz4y6y4FW85ikFq0J8XmJ8FGcpPjLISNBVkJpgR3Wdi0RBNQ+H30zymJSu9rUvv8Hcts2L7LR9YczAsbnxdtsUvl5dNh6z/ROb3kNZ6pMR2XIHUWC5aAkt5v6+8r/P04mZfIs8NGNuF1LdZ2m+zsdahgnAyqXNhIU32Q9LrN4q9r+XkkX9fy4x8uFiKGfX7R+BJjyIUN4M2VGyg7VmNgI/mJGk3ECJTScPL7RFkWtsGXnRNAtF8aROpw8+uPgY00xYdVbCfiDAHDpO5/zwgbqY1DMkfI9H65raizZP6OurL9Nx+ans7JcmM1FjYSn0R1G4DBblcoEVC6guAKhIF3bSwMGx5v+4rwi6Smx85sa6ap/QQoOs74n7RjYSON9cGV+sTGxWd+2Kxin9jkfD5k58zVwzoNwBdGH6dLnSmkSQAAAABJRU5ErkJggg==","Name":"Numbered list","Paragraph":{"Font":{"Name":"Roboto","NameFarEast":"+mn-ea","NameComplexScript":"+mn-cs","Size":22.0,"Bold":false,"Italic":false,"Underline":false,"Color":"81, 43, 43","SmallCaps":false,"AllCaps":false},"Alignment":0,"IndentBefore":28.3464565,"FirstLineIndent":-28.3464565,"ParagraphSpacing":{"Before":8.0,"After":0.0,"LineSpacing":1.0,"MeasureInLines":true}},"List":{"Visible":true,"BulletType":0,"StartValue":1,"IndentLevel":1,"Character":8226,"CharacterFont":"+mj-lt","BulletStyle":0,"BulletSize":1.0,"BulletColor":"255, 95, 0"}},{"Base64Png":"data:image/png;base64,iVBORw0KGgoAAAANSUhEUgAAAF8AAAARCAYAAAC7HnDpAAAAAXNSR0IArs4c6QAAAARnQU1BAACxjwv8YQUAAAAJcEhZcwAADsMAAA7DAcdvqGQAAAKdSURBVFhH7VjLkYMwDN1+Us0eKIQrVdAAJaQGrnTBhT60esKyhX8hEyeZzUQznt01RnrvWbLF/nzta6eM5oF+Lxfqp5XcVHbuXxrRSss0UN9dhNA+OuqHmbaV3k7uY8Unmmn0okPwgUYeYSM6ur55A1qJjyS7Cq+BFno+p5vxlsGJzFnuprxtjuBvN9H2ArAl+0jxw8NyduvmjPNX/HvtYfG3eZJj6DrzgoMz/n3oRIB9dDQ6IWi1RxmPjv3z++LQGNYdfbCYHfuOsDwqfsAdj5Q3qt3efcBj19A6US/PUkE1UfuJeZ2Jt02OfIZ0bAkJFnXEHcE/dQ53hoDLPLPVA/F2Evs7stZvxBFki8zf5pkWJJLgRzLgb24ojID+CFbsjEcxWuxeM3NUKx49os/EywjKO807lzvj7dqYtA9ee+bAih8QY5Jx5p0VOjd3ywL+NGtL/qSKgd3ce8HPjj/+W15kq8U7WFxuMrAR5rgoBYFJ1yTvZYhpqZ64uP3aTFY9S/xbIu0VEQlrOC2uEpKNOyu+Gl6Ie3512lp8PfO1tA/jpeIr9vqImw5//GBkEutu8a3hst2FqZcX7F7xVTz4GifOHncmysZj/pXiKz5g8fdPOsqc891gVXwEFceZTkQt3OAcuZH4NVB+7TsyP5O9NTtkfo5LVXzNvkpQDdBW/DLZ94hf5lUyy0nPfIsZVhffP8yT8De9A9Vc/MiPxfNc8VP8oeVOEwLNyGg6wNiPxX1opyvxxI4fROF/O/YjSQnWnN0jPuZsyeJDxn4PyDBrW4kPC708eHLWOh5WQKuDbzxMMtjTwE0FjhH/UjxvCJxrNfevTROgofgwiWnjMcHNV1vw01J8wWlEtjyyOuCDy7bbBZFhPqFs1SbxiP4ApioyPNaDaVsAAAAASUVORK5CYII=","Name":"Small text","Paragraph":{"Font":{"Name":"Roboto","NameFarEast":"+mn-ea","NameComplexScript":"+mn-cs","Size":16.0,"Bold":false,"Italic":false,"Underline":false,"Color":"81, 43, 43","SmallCaps":false,"AllCaps":false},"Alignment":0,"IndentBefore":0.0,"FirstLineIndent":0.0,"ParagraphSpacing":{"Before":8.0,"After":0.0,"LineSpacing":1.0,"MeasureInLines":true}},"List":{"Visible":false,"BulletType":4,"StartValue":1,"IndentLevel":1,"Character":8226,"CharacterFont":"","BulletStyle":0,"BulletSize":1.0,"BulletColor":"255, 95, 0"}},{"Base64Png":"data:image/png;base64,iVBORw0KGgoAAAANSUhEUgAAADgAAAAQCAYAAABDebxFAAAAAXNSR0IArs4c6QAAAARnQU1BAACxjwv8YQUAAAAJcEhZcwAADsMAAA7DAcdvqGQAAAG6SURBVEhL7VbdcYAgDHYfp+kDg/DKFCzACM7Aq1vw4h5pwm/EeOJV27u2ueOUGJJ85As4/SmB4GExCj7mOQ8F1nnYACCbvCYAGFtRTAPrG/EgONAZmFYGrDH4zECNfzQgQMhgFCwhgak6jP04wBZwBuub8zP9V0UC+KrU6il3oCN4EwFqF6p+c1hdso+DaNy+EdUs6Y2DldFd45x8c6bUgQyp6zqKDsXCvFfMs9r1LCggRqi4uZw0Olm8A5srXDagJZpsiOrFJgEJmExZl3p8DVhGASCPxf3IsdBXF4tsohRHvEqSNGq1JPrq810tbGiJJEpKFO0BSqzq10mbIumGAUrSA+rn2WxaDQVNvTwEUGgNkpJr8nOMJRXhFkWjA+ytQx9dANwndg3wbNO5fhzgxSGjkd/JYVmMieJ8w97Z8O7kQc4A/mwFeeK4MCpRer3cF9cAe0D9fOenALzTg1cASapDHJpOI+Gib0kwmzw/AIy6/enHW6BUNNpwurHESrXO/NwCSEK/ahbpGJ3EcfxVSzb8Ox758T3vfA2K14hwD2Y3cUN5whJAktF7cAjgEyIF/VXyD/BbZZo+AR/tlQ/6W1YzAAAAAElFTkSuQmCC","Name":"Caption","Paragraph":{"Font":{"Name":"Roboto Medium","NameFarEast":"Roboto Medium","NameComplexScript":"+mn-cs","Size":12.0,"Bold":false,"Italic":false,"Underline":false,"Color":"81, 43, 43","SmallCaps":false,"AllCaps":false},"Alignment":0,"IndentBefore":0.0,"FirstLineIndent":0.0,"ParagraphSpacing":{"Before":8.0,"After":0.0,"LineSpacing":1.0,"MeasureInLines":true}},"List":{"Visible":false,"BulletType":4,"StartValue":1,"IndentLevel":1,"Character":8226,"CharacterFont":"","BulletStyle":0,"BulletSize":1.0,"BulletColor":"255, 95, 0"}},{"Base64Png":"data:image/png;base64,iVBORw0KGgoAAAANSUhEUgAAAC4AAAAWCAYAAAC/kK73AAAAAXNSR0IArs4c6QAAAARnQU1BAACxjwv8YQUAAAAJcEhZcwAADsMAAA7DAcdvqGQAAAErSURBVFhH7ZRBDoMgEEV7Ge/DbfQErt3XA7D1ALjzBi7cuTfeYQopyAyItU2xmPqTSVpgPg8Y5/aXgqkDVpSQFTXkPYAe/khjW0sf5VW+5wV9syRmfNiViDfbmxPSoeD4xu9nuvFv6gLXw5vCOaydlxzBtU/RgIAZRNvoktJrqw7EROG2wK2fDMk2ApqPA15LSPPbDXUoCxACF9yOZ/LABFopDrie4/KG+0GG+Zj9nDVwPOYedFEscPfZQ/u44GSd6lpOaS2KA+5vaFso3YeAt/hlNqCVfgKOapaWhQ32iiVV8NPdOKvQ/7VuYpQSuPGyPtSfKCVw04kABsjN2lDJEHBp+Oy7gdAGscGVCNdaL6cLtsNAHgGuhEvGq4aUwWnJ+POXDpN5gvNECQ8L25xnb6YJ7QAAAABJRU5ErkJggg==","Name":"Link","Paragraph":{"Font":{"Name":"Roboto Medium","NameFarEast":"Roboto Medium","NameComplexScript":"+mn-cs","Size":18.0,"Bold":false,"Italic":false,"Underline":true,"Color":"37, 120, 134","SmallCaps":false,"AllCaps":false},"Alignment":0,"IndentBefore":0.0,"FirstLineIndent":0.0,"ParagraphSpacing":{"Before":8.0,"After":0.0,"LineSpacing":1.0,"MeasureInLines":true}},"List":{"Visible":false,"BulletType":4,"StartValue":1,"IndentLevel":1,"Character":8226,"CharacterFont":"","BulletStyle":0,"BulletSize":1.0,"BulletColor":"255, 95, 0"}}]}]]></PpStyles>
</file>

<file path=customXml/item11.xml><?xml version="1.0" encoding="utf-8"?>
<TemplafySlideFormConfiguration><![CDATA[{"formFields":[],"formDataEntries":[]}]]></TemplafySlideFormConfiguration>
</file>

<file path=customXml/item12.xml><?xml version="1.0" encoding="utf-8"?>
<TemplafySlideTemplateConfiguration><![CDATA[{"documentContentValidatorConfiguration":{"enableDocumentContentValidator":false,"documentContentValidatorVersion":0},"elementsMetadata":[],"slideId":"637510499331078247","enableDocumentContentUpdater":true,"version":"1.2"}]]></TemplafySlideTemplateConfiguration>
</file>

<file path=customXml/item13.xml><?xml version="1.0" encoding="utf-8"?>
<TemplafySlideFormConfiguration><![CDATA[{"formFields":[],"formDataEntries":[]}]]></TemplafySlideFormConfiguration>
</file>

<file path=customXml/item14.xml><?xml version="1.0" encoding="utf-8"?>
<TemplafySlideFormConfiguration><![CDATA[{"formFields":[],"formDataEntries":[]}]]></TemplafySlideFormConfiguration>
</file>

<file path=customXml/item15.xml><?xml version="1.0" encoding="utf-8"?>
<TemplafySlideTemplateConfiguration><![CDATA[{"documentContentValidatorConfiguration":{"enableDocumentContentValidator":false,"documentContentValidatorVersion":0},"elementsMetadata":[],"slideId":"637551311950458487","enableDocumentContentUpdater":true,"version":"1.2"}]]></TemplafySlideTemplateConfiguration>
</file>

<file path=customXml/item16.xml><?xml version="1.0" encoding="utf-8"?>
<TemplafySlideFormConfiguration><![CDATA[{"formFields":[],"formDataEntries":[]}]]></TemplafySlideFormConfiguration>
</file>

<file path=customXml/item17.xml><?xml version="1.0" encoding="utf-8"?>
<TemplafySlideFormConfiguration><![CDATA[{"formFields":[],"formDataEntries":[]}]]></TemplafySlideFormConfiguration>
</file>

<file path=customXml/item2.xml><?xml version="1.0" encoding="utf-8"?>
<TemplafySlideTemplateConfiguration><![CDATA[{"elementsMetadata":[],"documentContentValidatorConfiguration":{"enableDocumentContentValidator":false,"documentContentValidatorVersion":0},"slideId":"636923061718326079","enableDocumentContentUpdater":true,"version":"1.2"}]]></TemplafySlideTemplateConfiguration>
</file>

<file path=customXml/item3.xml><?xml version="1.0" encoding="utf-8"?>
<TemplafySlideFormConfiguration><![CDATA[{"formFields":[],"formDataEntries":[]}]]></TemplafySlideFormConfiguration>
</file>

<file path=customXml/item4.xml><?xml version="1.0" encoding="utf-8"?>
<TemplafySlideTemplateConfiguration><![CDATA[{"elementsMetadata":[],"documentContentValidatorConfiguration":{"enableDocumentContentValidator":false,"documentContentValidatorVersion":0},"slideId":"636923061718326080","enableDocumentContentUpdater":true,"version":"1.2"}]]></TemplafySlideTemplateConfiguration>
</file>

<file path=customXml/item5.xml><?xml version="1.0" encoding="utf-8"?>
<TemplafySlideTemplateConfiguration><![CDATA[{"documentContentValidatorConfiguration":{"enableDocumentContentValidator":false,"documentContentValidatorVersion":0},"elementsMetadata":[],"slideId":"637510499333422066","enableDocumentContentUpdater":true,"version":"1.2"}]]></TemplafySlideTemplateConfiguration>
</file>

<file path=customXml/item6.xml><?xml version="1.0" encoding="utf-8"?>
<TemplafySlideTemplateConfiguration><![CDATA[{"elementsMetadata":[],"documentContentValidatorConfiguration":{"enableDocumentContentValidator":false,"documentContentValidatorVersion":0},"slideId":"636923061718169580","enableDocumentContentUpdater":true,"version":"1.2"}]]></TemplafySlideTemplateConfiguration>
</file>

<file path=customXml/item7.xml><?xml version="1.0" encoding="utf-8"?>
<TemplafyFormConfiguration><![CDATA[{"formFields":[{"dataSource":"InformationClasses","displayColumn":"term","filter":{"column":"language","otherFieldName":"Language","fullyQualifiedOtherFieldName":"Language","otherFieldColumn":"iana","formReference":"userProfile","operator":"equals"},"hideIfNoUserInteractionRequired":false,"distinct":true,"required":false,"autoSelectFirstOption":false,"helpTexts":{"prefix":"","postfix":"Select which information your template should have in the drop down menu"},"spacing":{},"type":"dropDown","name":"InformationClasses","label":"Classification","fullyQualifiedName":"InformationClasses"},{"required":false,"placeholder":"","lines":0,"helpTexts":{"prefix":"","postfix":"Define who has access"},"spacing":{},"type":"textBox","name":"RestrictedAccess","label":"Restricted to (only visible when state \"Confidential\")","fullyQualifiedName":"RestrictedAccess"}],"formDataEntries":[]}]]></TemplafyFormConfiguration>
</file>

<file path=customXml/item8.xml><?xml version="1.0" encoding="utf-8"?>
<TemplafyTemplateConfiguration><![CDATA[{"elementsMetadata":[],"transformationConfigurations":[],"templateName":"Swedbank standard","templateDescription":"","enableDocumentContentUpdater":true,"version":"1.2"}]]></TemplafyTemplate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C3066B4C-5303-4975-BFCD-6D99804097D5}">
  <ds:schemaRefs/>
</ds:datastoreItem>
</file>

<file path=customXml/itemProps10.xml><?xml version="1.0" encoding="utf-8"?>
<ds:datastoreItem xmlns:ds="http://schemas.openxmlformats.org/officeDocument/2006/customXml" ds:itemID="{254B7775-FC4D-4B31-962C-54DC33D95CF7}">
  <ds:schemaRefs/>
</ds:datastoreItem>
</file>

<file path=customXml/itemProps11.xml><?xml version="1.0" encoding="utf-8"?>
<ds:datastoreItem xmlns:ds="http://schemas.openxmlformats.org/officeDocument/2006/customXml" ds:itemID="{D1A4A1E3-3440-450C-898F-3A7B381A99A6}">
  <ds:schemaRefs/>
</ds:datastoreItem>
</file>

<file path=customXml/itemProps12.xml><?xml version="1.0" encoding="utf-8"?>
<ds:datastoreItem xmlns:ds="http://schemas.openxmlformats.org/officeDocument/2006/customXml" ds:itemID="{6A81695A-A543-49BA-A9C0-07C3AF8D6A3E}">
  <ds:schemaRefs/>
</ds:datastoreItem>
</file>

<file path=customXml/itemProps13.xml><?xml version="1.0" encoding="utf-8"?>
<ds:datastoreItem xmlns:ds="http://schemas.openxmlformats.org/officeDocument/2006/customXml" ds:itemID="{F816BB19-DE83-47A3-B71E-56382B336A95}">
  <ds:schemaRefs/>
</ds:datastoreItem>
</file>

<file path=customXml/itemProps14.xml><?xml version="1.0" encoding="utf-8"?>
<ds:datastoreItem xmlns:ds="http://schemas.openxmlformats.org/officeDocument/2006/customXml" ds:itemID="{DE7625D9-0BC8-4863-A17E-7CC39C4CBBA1}">
  <ds:schemaRefs/>
</ds:datastoreItem>
</file>

<file path=customXml/itemProps15.xml><?xml version="1.0" encoding="utf-8"?>
<ds:datastoreItem xmlns:ds="http://schemas.openxmlformats.org/officeDocument/2006/customXml" ds:itemID="{B1F00548-74B6-457D-8BAF-C4DA94B8384D}">
  <ds:schemaRefs/>
</ds:datastoreItem>
</file>

<file path=customXml/itemProps16.xml><?xml version="1.0" encoding="utf-8"?>
<ds:datastoreItem xmlns:ds="http://schemas.openxmlformats.org/officeDocument/2006/customXml" ds:itemID="{2ACC7C35-5325-44B1-AF4F-B4D1005656AD}">
  <ds:schemaRefs/>
</ds:datastoreItem>
</file>

<file path=customXml/itemProps17.xml><?xml version="1.0" encoding="utf-8"?>
<ds:datastoreItem xmlns:ds="http://schemas.openxmlformats.org/officeDocument/2006/customXml" ds:itemID="{66345CBF-CC65-49FD-8919-673A26B1615C}">
  <ds:schemaRefs/>
</ds:datastoreItem>
</file>

<file path=customXml/itemProps2.xml><?xml version="1.0" encoding="utf-8"?>
<ds:datastoreItem xmlns:ds="http://schemas.openxmlformats.org/officeDocument/2006/customXml" ds:itemID="{DF79D526-460F-485B-B49E-9961F42FEA3A}">
  <ds:schemaRefs/>
</ds:datastoreItem>
</file>

<file path=customXml/itemProps3.xml><?xml version="1.0" encoding="utf-8"?>
<ds:datastoreItem xmlns:ds="http://schemas.openxmlformats.org/officeDocument/2006/customXml" ds:itemID="{F87A8895-C60D-49F6-B31C-E5BCB88F6BD8}">
  <ds:schemaRefs/>
</ds:datastoreItem>
</file>

<file path=customXml/itemProps4.xml><?xml version="1.0" encoding="utf-8"?>
<ds:datastoreItem xmlns:ds="http://schemas.openxmlformats.org/officeDocument/2006/customXml" ds:itemID="{41F5F4FB-7D9B-44F7-8776-B62303AA1933}">
  <ds:schemaRefs/>
</ds:datastoreItem>
</file>

<file path=customXml/itemProps5.xml><?xml version="1.0" encoding="utf-8"?>
<ds:datastoreItem xmlns:ds="http://schemas.openxmlformats.org/officeDocument/2006/customXml" ds:itemID="{99E9A379-577E-4EBD-A2DD-169C044E2597}">
  <ds:schemaRefs/>
</ds:datastoreItem>
</file>

<file path=customXml/itemProps6.xml><?xml version="1.0" encoding="utf-8"?>
<ds:datastoreItem xmlns:ds="http://schemas.openxmlformats.org/officeDocument/2006/customXml" ds:itemID="{CDC7E3F5-B1C8-45CB-BD2A-B623689F6565}">
  <ds:schemaRefs/>
</ds:datastoreItem>
</file>

<file path=customXml/itemProps7.xml><?xml version="1.0" encoding="utf-8"?>
<ds:datastoreItem xmlns:ds="http://schemas.openxmlformats.org/officeDocument/2006/customXml" ds:itemID="{C05AFAF4-26D2-47D7-AD40-001E0F864319}">
  <ds:schemaRefs/>
</ds:datastoreItem>
</file>

<file path=customXml/itemProps8.xml><?xml version="1.0" encoding="utf-8"?>
<ds:datastoreItem xmlns:ds="http://schemas.openxmlformats.org/officeDocument/2006/customXml" ds:itemID="{4D844B81-EFC6-4042-9111-A511752BE28C}">
  <ds:schemaRefs/>
</ds:datastoreItem>
</file>

<file path=customXml/itemProps9.xml><?xml version="1.0" encoding="utf-8"?>
<ds:datastoreItem xmlns:ds="http://schemas.openxmlformats.org/officeDocument/2006/customXml" ds:itemID="{EEE2063C-4384-492E-ABFE-9CE8BD6987AD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ownload (7)</Template>
  <TotalTime>2159</TotalTime>
  <Words>647</Words>
  <Application>Microsoft Office PowerPoint</Application>
  <PresentationFormat>Widescreen</PresentationFormat>
  <Paragraphs>122</Paragraphs>
  <Slides>1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Roboto</vt:lpstr>
      <vt:lpstr>Arial</vt:lpstr>
      <vt:lpstr>Swedbank Headline Bold</vt:lpstr>
      <vt:lpstr>Swedbank Headline Black</vt:lpstr>
      <vt:lpstr>Swedbank</vt:lpstr>
      <vt:lpstr>think-cell Slide</vt:lpstr>
      <vt:lpstr>Personalo srities tendencijos: technologijos „kartu su“ ar „prieš“ žmogiškumą?</vt:lpstr>
      <vt:lpstr>HR tech sprendimai 2023:  ar jie eliminuoja HR žmogaus įsitraukimo poreikį? </vt:lpstr>
      <vt:lpstr>PowerPoint Presentation</vt:lpstr>
      <vt:lpstr>Ar tai HR srities apokalipsė?</vt:lpstr>
      <vt:lpstr>Arba nauja galimybė HR: HR partnerių veiklos analizė („Swedbank“ pavyzdys)</vt:lpstr>
      <vt:lpstr>PowerPoint Presentation</vt:lpstr>
      <vt:lpstr>PowerPoint Presentation</vt:lpstr>
      <vt:lpstr>Gartner prognozės 2023:  HR vadovų išskiriami top prioritetai</vt:lpstr>
      <vt:lpstr>Kas išryškėjo popandeminiame darbiniame pasaulyje?</vt:lpstr>
      <vt:lpstr>Idėjos kurti tvariai HR vadovo ateičiai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sonalo srities tendencijos: technologijos „kartu su“ ar „prieš“ žmogiškumą?</dc:title>
  <dc:creator>Agnė Jonaitytė-Karalienė</dc:creator>
  <cp:lastModifiedBy>Agnė Jonaitytė-Karalienė</cp:lastModifiedBy>
  <cp:revision>15</cp:revision>
  <dcterms:created xsi:type="dcterms:W3CDTF">2023-08-30T11:24:22Z</dcterms:created>
  <dcterms:modified xsi:type="dcterms:W3CDTF">2023-09-05T15:16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TemplafyTimeStamp">
    <vt:lpwstr>2021-05-05T09:12:11.7213340Z</vt:lpwstr>
  </property>
</Properties>
</file>